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2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3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14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31"/>
  </p:notesMasterIdLst>
  <p:sldIdLst>
    <p:sldId id="256" r:id="rId3"/>
    <p:sldId id="3440" r:id="rId4"/>
    <p:sldId id="3405" r:id="rId5"/>
    <p:sldId id="257" r:id="rId6"/>
    <p:sldId id="258" r:id="rId7"/>
    <p:sldId id="3442" r:id="rId8"/>
    <p:sldId id="3417" r:id="rId9"/>
    <p:sldId id="3418" r:id="rId10"/>
    <p:sldId id="3437" r:id="rId11"/>
    <p:sldId id="3414" r:id="rId12"/>
    <p:sldId id="3415" r:id="rId13"/>
    <p:sldId id="3443" r:id="rId14"/>
    <p:sldId id="3435" r:id="rId15"/>
    <p:sldId id="666" r:id="rId16"/>
    <p:sldId id="3429" r:id="rId17"/>
    <p:sldId id="3427" r:id="rId18"/>
    <p:sldId id="714" r:id="rId19"/>
    <p:sldId id="3428" r:id="rId20"/>
    <p:sldId id="3444" r:id="rId21"/>
    <p:sldId id="3436" r:id="rId22"/>
    <p:sldId id="3425" r:id="rId23"/>
    <p:sldId id="3430" r:id="rId24"/>
    <p:sldId id="746" r:id="rId25"/>
    <p:sldId id="3445" r:id="rId26"/>
    <p:sldId id="3446" r:id="rId27"/>
    <p:sldId id="3441" r:id="rId28"/>
    <p:sldId id="3434" r:id="rId29"/>
    <p:sldId id="3447" r:id="rId30"/>
  </p:sldIdLst>
  <p:sldSz cx="12192000" cy="6858000"/>
  <p:notesSz cx="6858000" cy="9144000"/>
  <p:defaultTextStyle>
    <a:defPPr>
      <a:defRPr lang="en-CH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07"/>
    <p:restoredTop sz="73288"/>
  </p:normalViewPr>
  <p:slideViewPr>
    <p:cSldViewPr snapToGrid="0" snapToObjects="1">
      <p:cViewPr varScale="1">
        <p:scale>
          <a:sx n="117" d="100"/>
          <a:sy n="117" d="100"/>
        </p:scale>
        <p:origin x="45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02F3144-E39E-4A62-A9D7-25F2DE9B879E}" type="doc">
      <dgm:prSet loTypeId="urn:microsoft.com/office/officeart/2005/8/layout/default" loCatId="list" qsTypeId="urn:microsoft.com/office/officeart/2005/8/quickstyle/simple5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0165C17A-F0D7-4CF1-B6F9-558B88E1C091}">
      <dgm:prSet/>
      <dgm:spPr/>
      <dgm:t>
        <a:bodyPr/>
        <a:lstStyle/>
        <a:p>
          <a:r>
            <a:rPr lang="en-US" dirty="0"/>
            <a:t>Maladies </a:t>
          </a:r>
          <a:r>
            <a:rPr lang="en-US" dirty="0" err="1"/>
            <a:t>cardiaques</a:t>
          </a:r>
          <a:endParaRPr lang="en-US" dirty="0"/>
        </a:p>
      </dgm:t>
    </dgm:pt>
    <dgm:pt modelId="{41986AB5-B124-4366-AD69-2C95D02E7652}" type="parTrans" cxnId="{891F0D4B-B6BF-45B0-8908-7EC17E1ED7A3}">
      <dgm:prSet/>
      <dgm:spPr/>
      <dgm:t>
        <a:bodyPr/>
        <a:lstStyle/>
        <a:p>
          <a:endParaRPr lang="en-US"/>
        </a:p>
      </dgm:t>
    </dgm:pt>
    <dgm:pt modelId="{36895CAB-E3A1-4E3C-9FE9-49C2C13D79AA}" type="sibTrans" cxnId="{891F0D4B-B6BF-45B0-8908-7EC17E1ED7A3}">
      <dgm:prSet/>
      <dgm:spPr/>
      <dgm:t>
        <a:bodyPr/>
        <a:lstStyle/>
        <a:p>
          <a:endParaRPr lang="en-US"/>
        </a:p>
      </dgm:t>
    </dgm:pt>
    <dgm:pt modelId="{A73969D5-3ABA-4427-B219-33CE8C84A5D4}">
      <dgm:prSet/>
      <dgm:spPr/>
      <dgm:t>
        <a:bodyPr/>
        <a:lstStyle/>
        <a:p>
          <a:r>
            <a:rPr lang="en-US" dirty="0"/>
            <a:t>Hypertension </a:t>
          </a:r>
          <a:r>
            <a:rPr lang="en-US" dirty="0" err="1"/>
            <a:t>artérielle</a:t>
          </a:r>
          <a:endParaRPr lang="en-US" dirty="0"/>
        </a:p>
      </dgm:t>
    </dgm:pt>
    <dgm:pt modelId="{6BF65F9D-0CD4-46BD-B812-D517840CB326}" type="parTrans" cxnId="{50CF2E3B-8BD6-49C7-A0C2-26C7499648CA}">
      <dgm:prSet/>
      <dgm:spPr/>
      <dgm:t>
        <a:bodyPr/>
        <a:lstStyle/>
        <a:p>
          <a:endParaRPr lang="en-US"/>
        </a:p>
      </dgm:t>
    </dgm:pt>
    <dgm:pt modelId="{58E413CE-9007-44E8-BD94-E3FC7D896870}" type="sibTrans" cxnId="{50CF2E3B-8BD6-49C7-A0C2-26C7499648CA}">
      <dgm:prSet/>
      <dgm:spPr/>
      <dgm:t>
        <a:bodyPr/>
        <a:lstStyle/>
        <a:p>
          <a:endParaRPr lang="en-US"/>
        </a:p>
      </dgm:t>
    </dgm:pt>
    <dgm:pt modelId="{BA64F60B-FED5-4814-A82E-02336BC70B3B}">
      <dgm:prSet/>
      <dgm:spPr/>
      <dgm:t>
        <a:bodyPr/>
        <a:lstStyle/>
        <a:p>
          <a:r>
            <a:rPr lang="en-US" dirty="0" err="1"/>
            <a:t>Diabète</a:t>
          </a:r>
          <a:endParaRPr lang="en-US" dirty="0"/>
        </a:p>
      </dgm:t>
    </dgm:pt>
    <dgm:pt modelId="{343D5AD6-C5AB-402E-A6E0-6A7A02BDB7B2}" type="parTrans" cxnId="{197BCB58-6F04-4FE2-8084-4DD811B20C28}">
      <dgm:prSet/>
      <dgm:spPr/>
      <dgm:t>
        <a:bodyPr/>
        <a:lstStyle/>
        <a:p>
          <a:endParaRPr lang="en-US"/>
        </a:p>
      </dgm:t>
    </dgm:pt>
    <dgm:pt modelId="{E81F0625-CC29-43AE-8A0F-8DA9CDC356F8}" type="sibTrans" cxnId="{197BCB58-6F04-4FE2-8084-4DD811B20C28}">
      <dgm:prSet/>
      <dgm:spPr/>
      <dgm:t>
        <a:bodyPr/>
        <a:lstStyle/>
        <a:p>
          <a:endParaRPr lang="en-US"/>
        </a:p>
      </dgm:t>
    </dgm:pt>
    <dgm:pt modelId="{E680B507-DFF9-4AE4-84EE-E3AB8B150028}">
      <dgm:prSet/>
      <dgm:spPr/>
      <dgm:t>
        <a:bodyPr/>
        <a:lstStyle/>
        <a:p>
          <a:r>
            <a:rPr lang="en-US" dirty="0" err="1"/>
            <a:t>Surpoids</a:t>
          </a:r>
          <a:endParaRPr lang="en-US" dirty="0"/>
        </a:p>
      </dgm:t>
    </dgm:pt>
    <dgm:pt modelId="{72D5BA97-2790-44B8-AAF0-7C54000885F7}" type="parTrans" cxnId="{7FC37E41-9D04-4CCF-A3E8-5E6CF1CFD7FF}">
      <dgm:prSet/>
      <dgm:spPr/>
      <dgm:t>
        <a:bodyPr/>
        <a:lstStyle/>
        <a:p>
          <a:endParaRPr lang="en-US"/>
        </a:p>
      </dgm:t>
    </dgm:pt>
    <dgm:pt modelId="{B3246C2B-7EBA-40EF-979E-3F544846467B}" type="sibTrans" cxnId="{7FC37E41-9D04-4CCF-A3E8-5E6CF1CFD7FF}">
      <dgm:prSet/>
      <dgm:spPr/>
      <dgm:t>
        <a:bodyPr/>
        <a:lstStyle/>
        <a:p>
          <a:endParaRPr lang="en-US"/>
        </a:p>
      </dgm:t>
    </dgm:pt>
    <dgm:pt modelId="{07DE4355-3ABF-4E44-AFCB-2831E76EBA80}">
      <dgm:prSet/>
      <dgm:spPr/>
      <dgm:t>
        <a:bodyPr/>
        <a:lstStyle/>
        <a:p>
          <a:r>
            <a:rPr lang="en-US" dirty="0" err="1"/>
            <a:t>Système</a:t>
          </a:r>
          <a:r>
            <a:rPr lang="en-US" dirty="0"/>
            <a:t> </a:t>
          </a:r>
          <a:r>
            <a:rPr lang="en-US" dirty="0" err="1"/>
            <a:t>immunitaire</a:t>
          </a:r>
          <a:r>
            <a:rPr lang="en-US" dirty="0"/>
            <a:t> </a:t>
          </a:r>
          <a:r>
            <a:rPr lang="en-US" dirty="0" err="1"/>
            <a:t>affaibli</a:t>
          </a:r>
          <a:endParaRPr lang="en-US" dirty="0"/>
        </a:p>
      </dgm:t>
    </dgm:pt>
    <dgm:pt modelId="{C24A02CB-A14E-4A89-827E-0D2650854ECD}" type="parTrans" cxnId="{5874B722-8F59-45E7-897E-1613CAB90465}">
      <dgm:prSet/>
      <dgm:spPr/>
      <dgm:t>
        <a:bodyPr/>
        <a:lstStyle/>
        <a:p>
          <a:endParaRPr lang="en-US"/>
        </a:p>
      </dgm:t>
    </dgm:pt>
    <dgm:pt modelId="{4A6C8458-2057-49A8-B30D-05CDAB4EE480}" type="sibTrans" cxnId="{5874B722-8F59-45E7-897E-1613CAB90465}">
      <dgm:prSet/>
      <dgm:spPr/>
      <dgm:t>
        <a:bodyPr/>
        <a:lstStyle/>
        <a:p>
          <a:endParaRPr lang="en-US"/>
        </a:p>
      </dgm:t>
    </dgm:pt>
    <dgm:pt modelId="{FB5C25E8-CE00-4EC5-85BD-CC52345E1418}">
      <dgm:prSet/>
      <dgm:spPr/>
      <dgm:t>
        <a:bodyPr/>
        <a:lstStyle/>
        <a:p>
          <a:r>
            <a:rPr lang="en-US" dirty="0"/>
            <a:t>Troubles gastro-</a:t>
          </a:r>
          <a:r>
            <a:rPr lang="en-US" dirty="0" err="1"/>
            <a:t>intestinaux</a:t>
          </a:r>
          <a:endParaRPr lang="en-US" dirty="0"/>
        </a:p>
      </dgm:t>
    </dgm:pt>
    <dgm:pt modelId="{59235ADC-EDD8-4D2B-A2CE-8BB56A0B25A1}" type="parTrans" cxnId="{BC834D58-4128-410C-B649-913834890B77}">
      <dgm:prSet/>
      <dgm:spPr/>
      <dgm:t>
        <a:bodyPr/>
        <a:lstStyle/>
        <a:p>
          <a:endParaRPr lang="en-US"/>
        </a:p>
      </dgm:t>
    </dgm:pt>
    <dgm:pt modelId="{0708D4A4-DCE7-4954-A254-84AE3D104A85}" type="sibTrans" cxnId="{BC834D58-4128-410C-B649-913834890B77}">
      <dgm:prSet/>
      <dgm:spPr/>
      <dgm:t>
        <a:bodyPr/>
        <a:lstStyle/>
        <a:p>
          <a:endParaRPr lang="en-US"/>
        </a:p>
      </dgm:t>
    </dgm:pt>
    <dgm:pt modelId="{C7BB9350-DEB9-4F3D-83E6-1F86C9416C28}">
      <dgm:prSet/>
      <dgm:spPr/>
      <dgm:t>
        <a:bodyPr/>
        <a:lstStyle/>
        <a:p>
          <a:r>
            <a:rPr lang="en-US" dirty="0"/>
            <a:t>Infections </a:t>
          </a:r>
          <a:r>
            <a:rPr lang="en-US" dirty="0" err="1"/>
            <a:t>respiratoires</a:t>
          </a:r>
          <a:endParaRPr lang="en-US" dirty="0"/>
        </a:p>
      </dgm:t>
    </dgm:pt>
    <dgm:pt modelId="{2AC4C2E6-CBC7-41E1-9C0A-158ED0E194E8}" type="parTrans" cxnId="{90E0312B-F1CA-4435-BF0C-6066A3FBFCF4}">
      <dgm:prSet/>
      <dgm:spPr/>
      <dgm:t>
        <a:bodyPr/>
        <a:lstStyle/>
        <a:p>
          <a:endParaRPr lang="en-US"/>
        </a:p>
      </dgm:t>
    </dgm:pt>
    <dgm:pt modelId="{D47463B8-0650-41EE-BC9F-E99E26D779DC}" type="sibTrans" cxnId="{90E0312B-F1CA-4435-BF0C-6066A3FBFCF4}">
      <dgm:prSet/>
      <dgm:spPr/>
      <dgm:t>
        <a:bodyPr/>
        <a:lstStyle/>
        <a:p>
          <a:endParaRPr lang="en-US"/>
        </a:p>
      </dgm:t>
    </dgm:pt>
    <dgm:pt modelId="{57BEE3F2-FC3B-4593-B68A-F62C513EF075}">
      <dgm:prSet/>
      <dgm:spPr/>
      <dgm:t>
        <a:bodyPr/>
        <a:lstStyle/>
        <a:p>
          <a:r>
            <a:rPr lang="en-US" dirty="0"/>
            <a:t>Maladies auto-immunes</a:t>
          </a:r>
        </a:p>
      </dgm:t>
    </dgm:pt>
    <dgm:pt modelId="{2B3E6CB0-AB9C-40CE-AE81-1C0DFF965A1E}" type="parTrans" cxnId="{770195E1-F9F4-43B2-8444-5A850DF2F3A5}">
      <dgm:prSet/>
      <dgm:spPr/>
      <dgm:t>
        <a:bodyPr/>
        <a:lstStyle/>
        <a:p>
          <a:endParaRPr lang="en-US"/>
        </a:p>
      </dgm:t>
    </dgm:pt>
    <dgm:pt modelId="{81E52BB1-835E-45C6-871C-AD94BD1D0E21}" type="sibTrans" cxnId="{770195E1-F9F4-43B2-8444-5A850DF2F3A5}">
      <dgm:prSet/>
      <dgm:spPr/>
      <dgm:t>
        <a:bodyPr/>
        <a:lstStyle/>
        <a:p>
          <a:endParaRPr lang="en-US"/>
        </a:p>
      </dgm:t>
    </dgm:pt>
    <dgm:pt modelId="{441DD195-AB03-496F-86C0-C5375E6A1025}">
      <dgm:prSet/>
      <dgm:spPr/>
      <dgm:t>
        <a:bodyPr/>
        <a:lstStyle/>
        <a:p>
          <a:r>
            <a:rPr lang="en-US" dirty="0" err="1"/>
            <a:t>Insomnie</a:t>
          </a:r>
          <a:endParaRPr lang="en-US" dirty="0"/>
        </a:p>
      </dgm:t>
    </dgm:pt>
    <dgm:pt modelId="{BFDE5F24-DB21-4BB3-8109-4CDB6BFF8100}" type="parTrans" cxnId="{54DEBEF0-7EB7-4AC5-9039-E4879348DC99}">
      <dgm:prSet/>
      <dgm:spPr/>
      <dgm:t>
        <a:bodyPr/>
        <a:lstStyle/>
        <a:p>
          <a:endParaRPr lang="en-US"/>
        </a:p>
      </dgm:t>
    </dgm:pt>
    <dgm:pt modelId="{762B1394-5B90-47A0-8784-B76945A77A1A}" type="sibTrans" cxnId="{54DEBEF0-7EB7-4AC5-9039-E4879348DC99}">
      <dgm:prSet/>
      <dgm:spPr/>
      <dgm:t>
        <a:bodyPr/>
        <a:lstStyle/>
        <a:p>
          <a:endParaRPr lang="en-US"/>
        </a:p>
      </dgm:t>
    </dgm:pt>
    <dgm:pt modelId="{4B555C61-4BDF-4CAE-9DA3-F59D9ECB2952}">
      <dgm:prSet/>
      <dgm:spPr/>
      <dgm:t>
        <a:bodyPr/>
        <a:lstStyle/>
        <a:p>
          <a:r>
            <a:rPr lang="en-US" dirty="0"/>
            <a:t>Burnout</a:t>
          </a:r>
        </a:p>
      </dgm:t>
    </dgm:pt>
    <dgm:pt modelId="{50E80FBD-4B92-446D-9951-E4B0E80ED805}" type="parTrans" cxnId="{C810A328-8027-4D45-9816-8E467C7A9548}">
      <dgm:prSet/>
      <dgm:spPr/>
      <dgm:t>
        <a:bodyPr/>
        <a:lstStyle/>
        <a:p>
          <a:endParaRPr lang="en-US"/>
        </a:p>
      </dgm:t>
    </dgm:pt>
    <dgm:pt modelId="{34C59D26-D0A5-40D0-B821-BA40E22F4077}" type="sibTrans" cxnId="{C810A328-8027-4D45-9816-8E467C7A9548}">
      <dgm:prSet/>
      <dgm:spPr/>
      <dgm:t>
        <a:bodyPr/>
        <a:lstStyle/>
        <a:p>
          <a:endParaRPr lang="en-US"/>
        </a:p>
      </dgm:t>
    </dgm:pt>
    <dgm:pt modelId="{CFC066CE-678A-4681-B757-DB62E05CFE24}">
      <dgm:prSet/>
      <dgm:spPr/>
      <dgm:t>
        <a:bodyPr/>
        <a:lstStyle/>
        <a:p>
          <a:r>
            <a:rPr lang="en-US" dirty="0" err="1"/>
            <a:t>Dépression</a:t>
          </a:r>
          <a:endParaRPr lang="en-US" dirty="0"/>
        </a:p>
      </dgm:t>
    </dgm:pt>
    <dgm:pt modelId="{BA334F7B-F164-4475-ADFB-72F9BDE8168C}" type="parTrans" cxnId="{E101E19C-4C85-4293-AFBA-CF12E2005173}">
      <dgm:prSet/>
      <dgm:spPr/>
      <dgm:t>
        <a:bodyPr/>
        <a:lstStyle/>
        <a:p>
          <a:endParaRPr lang="en-US"/>
        </a:p>
      </dgm:t>
    </dgm:pt>
    <dgm:pt modelId="{DC7DCE22-9F10-4205-9783-21F72ABB0F57}" type="sibTrans" cxnId="{E101E19C-4C85-4293-AFBA-CF12E2005173}">
      <dgm:prSet/>
      <dgm:spPr/>
      <dgm:t>
        <a:bodyPr/>
        <a:lstStyle/>
        <a:p>
          <a:endParaRPr lang="en-US"/>
        </a:p>
      </dgm:t>
    </dgm:pt>
    <dgm:pt modelId="{1C026896-1B00-42B9-A213-90091E38D6B7}">
      <dgm:prSet/>
      <dgm:spPr/>
      <dgm:t>
        <a:bodyPr/>
        <a:lstStyle/>
        <a:p>
          <a:r>
            <a:rPr lang="en-US" dirty="0"/>
            <a:t>Troubles </a:t>
          </a:r>
          <a:r>
            <a:rPr lang="en-US" dirty="0" err="1"/>
            <a:t>anxieux</a:t>
          </a:r>
          <a:endParaRPr lang="en-US" dirty="0"/>
        </a:p>
      </dgm:t>
    </dgm:pt>
    <dgm:pt modelId="{5338EAEE-2D56-4818-9823-0D1847C9E0FF}" type="parTrans" cxnId="{31E1A32B-7A49-4263-9BD0-51DA5DE6B455}">
      <dgm:prSet/>
      <dgm:spPr/>
      <dgm:t>
        <a:bodyPr/>
        <a:lstStyle/>
        <a:p>
          <a:endParaRPr lang="en-US"/>
        </a:p>
      </dgm:t>
    </dgm:pt>
    <dgm:pt modelId="{362085B9-3048-4719-804B-AD584C415BE9}" type="sibTrans" cxnId="{31E1A32B-7A49-4263-9BD0-51DA5DE6B455}">
      <dgm:prSet/>
      <dgm:spPr/>
      <dgm:t>
        <a:bodyPr/>
        <a:lstStyle/>
        <a:p>
          <a:endParaRPr lang="en-US"/>
        </a:p>
      </dgm:t>
    </dgm:pt>
    <dgm:pt modelId="{DE0F0D51-71D9-3046-8E32-559341A255C4}" type="pres">
      <dgm:prSet presAssocID="{702F3144-E39E-4A62-A9D7-25F2DE9B879E}" presName="diagram" presStyleCnt="0">
        <dgm:presLayoutVars>
          <dgm:dir/>
          <dgm:resizeHandles val="exact"/>
        </dgm:presLayoutVars>
      </dgm:prSet>
      <dgm:spPr/>
    </dgm:pt>
    <dgm:pt modelId="{D2DC9730-AC05-7842-A119-99B0739C6FBC}" type="pres">
      <dgm:prSet presAssocID="{0165C17A-F0D7-4CF1-B6F9-558B88E1C091}" presName="node" presStyleLbl="node1" presStyleIdx="0" presStyleCnt="12">
        <dgm:presLayoutVars>
          <dgm:bulletEnabled val="1"/>
        </dgm:presLayoutVars>
      </dgm:prSet>
      <dgm:spPr/>
    </dgm:pt>
    <dgm:pt modelId="{E2BFDD60-62C7-C84A-AEB4-A1826DA9D1E3}" type="pres">
      <dgm:prSet presAssocID="{36895CAB-E3A1-4E3C-9FE9-49C2C13D79AA}" presName="sibTrans" presStyleCnt="0"/>
      <dgm:spPr/>
    </dgm:pt>
    <dgm:pt modelId="{1DE13874-E347-0345-BCBF-A94C9E0DDA75}" type="pres">
      <dgm:prSet presAssocID="{A73969D5-3ABA-4427-B219-33CE8C84A5D4}" presName="node" presStyleLbl="node1" presStyleIdx="1" presStyleCnt="12">
        <dgm:presLayoutVars>
          <dgm:bulletEnabled val="1"/>
        </dgm:presLayoutVars>
      </dgm:prSet>
      <dgm:spPr/>
    </dgm:pt>
    <dgm:pt modelId="{3F1DD9E0-0897-9345-ACA4-2795186BAC48}" type="pres">
      <dgm:prSet presAssocID="{58E413CE-9007-44E8-BD94-E3FC7D896870}" presName="sibTrans" presStyleCnt="0"/>
      <dgm:spPr/>
    </dgm:pt>
    <dgm:pt modelId="{96794AA2-5E75-8440-ABD5-BB0C98493F56}" type="pres">
      <dgm:prSet presAssocID="{BA64F60B-FED5-4814-A82E-02336BC70B3B}" presName="node" presStyleLbl="node1" presStyleIdx="2" presStyleCnt="12">
        <dgm:presLayoutVars>
          <dgm:bulletEnabled val="1"/>
        </dgm:presLayoutVars>
      </dgm:prSet>
      <dgm:spPr/>
    </dgm:pt>
    <dgm:pt modelId="{E30BB75B-454B-D841-9D72-621EE4B19475}" type="pres">
      <dgm:prSet presAssocID="{E81F0625-CC29-43AE-8A0F-8DA9CDC356F8}" presName="sibTrans" presStyleCnt="0"/>
      <dgm:spPr/>
    </dgm:pt>
    <dgm:pt modelId="{0CD364C0-A05E-8246-8B99-1BDBA6F35EC7}" type="pres">
      <dgm:prSet presAssocID="{E680B507-DFF9-4AE4-84EE-E3AB8B150028}" presName="node" presStyleLbl="node1" presStyleIdx="3" presStyleCnt="12">
        <dgm:presLayoutVars>
          <dgm:bulletEnabled val="1"/>
        </dgm:presLayoutVars>
      </dgm:prSet>
      <dgm:spPr/>
    </dgm:pt>
    <dgm:pt modelId="{BE5C329B-BABF-834C-AB42-85638FB5EF7E}" type="pres">
      <dgm:prSet presAssocID="{B3246C2B-7EBA-40EF-979E-3F544846467B}" presName="sibTrans" presStyleCnt="0"/>
      <dgm:spPr/>
    </dgm:pt>
    <dgm:pt modelId="{E30FF018-5758-364B-BEEE-225F0DE1ED01}" type="pres">
      <dgm:prSet presAssocID="{07DE4355-3ABF-4E44-AFCB-2831E76EBA80}" presName="node" presStyleLbl="node1" presStyleIdx="4" presStyleCnt="12">
        <dgm:presLayoutVars>
          <dgm:bulletEnabled val="1"/>
        </dgm:presLayoutVars>
      </dgm:prSet>
      <dgm:spPr/>
    </dgm:pt>
    <dgm:pt modelId="{3F035647-016C-234F-97DA-6F8127A0ED92}" type="pres">
      <dgm:prSet presAssocID="{4A6C8458-2057-49A8-B30D-05CDAB4EE480}" presName="sibTrans" presStyleCnt="0"/>
      <dgm:spPr/>
    </dgm:pt>
    <dgm:pt modelId="{105EA56F-42CD-2146-9A88-551068CB78EE}" type="pres">
      <dgm:prSet presAssocID="{FB5C25E8-CE00-4EC5-85BD-CC52345E1418}" presName="node" presStyleLbl="node1" presStyleIdx="5" presStyleCnt="12">
        <dgm:presLayoutVars>
          <dgm:bulletEnabled val="1"/>
        </dgm:presLayoutVars>
      </dgm:prSet>
      <dgm:spPr/>
    </dgm:pt>
    <dgm:pt modelId="{818D51B0-09E7-1A40-A5A1-119A5A35EA0F}" type="pres">
      <dgm:prSet presAssocID="{0708D4A4-DCE7-4954-A254-84AE3D104A85}" presName="sibTrans" presStyleCnt="0"/>
      <dgm:spPr/>
    </dgm:pt>
    <dgm:pt modelId="{1821568C-3DA1-9042-9205-EA12F525FC01}" type="pres">
      <dgm:prSet presAssocID="{C7BB9350-DEB9-4F3D-83E6-1F86C9416C28}" presName="node" presStyleLbl="node1" presStyleIdx="6" presStyleCnt="12">
        <dgm:presLayoutVars>
          <dgm:bulletEnabled val="1"/>
        </dgm:presLayoutVars>
      </dgm:prSet>
      <dgm:spPr/>
    </dgm:pt>
    <dgm:pt modelId="{D8B4BE44-6811-2940-BDBF-A7873F2CA9EF}" type="pres">
      <dgm:prSet presAssocID="{D47463B8-0650-41EE-BC9F-E99E26D779DC}" presName="sibTrans" presStyleCnt="0"/>
      <dgm:spPr/>
    </dgm:pt>
    <dgm:pt modelId="{EEB9D5E2-68FA-7C4F-8714-6AC95E4BCCFD}" type="pres">
      <dgm:prSet presAssocID="{57BEE3F2-FC3B-4593-B68A-F62C513EF075}" presName="node" presStyleLbl="node1" presStyleIdx="7" presStyleCnt="12">
        <dgm:presLayoutVars>
          <dgm:bulletEnabled val="1"/>
        </dgm:presLayoutVars>
      </dgm:prSet>
      <dgm:spPr/>
    </dgm:pt>
    <dgm:pt modelId="{F83584A4-0F70-0641-B983-34ECDB1C60CC}" type="pres">
      <dgm:prSet presAssocID="{81E52BB1-835E-45C6-871C-AD94BD1D0E21}" presName="sibTrans" presStyleCnt="0"/>
      <dgm:spPr/>
    </dgm:pt>
    <dgm:pt modelId="{D1BBC3B1-DA41-444E-A194-3D19F10602DB}" type="pres">
      <dgm:prSet presAssocID="{441DD195-AB03-496F-86C0-C5375E6A1025}" presName="node" presStyleLbl="node1" presStyleIdx="8" presStyleCnt="12">
        <dgm:presLayoutVars>
          <dgm:bulletEnabled val="1"/>
        </dgm:presLayoutVars>
      </dgm:prSet>
      <dgm:spPr/>
    </dgm:pt>
    <dgm:pt modelId="{2727CEF1-2761-8848-A35C-7B186B233127}" type="pres">
      <dgm:prSet presAssocID="{762B1394-5B90-47A0-8784-B76945A77A1A}" presName="sibTrans" presStyleCnt="0"/>
      <dgm:spPr/>
    </dgm:pt>
    <dgm:pt modelId="{A84D5467-1A1E-C64A-9050-7E2FEFE75AFA}" type="pres">
      <dgm:prSet presAssocID="{4B555C61-4BDF-4CAE-9DA3-F59D9ECB2952}" presName="node" presStyleLbl="node1" presStyleIdx="9" presStyleCnt="12" custLinFactNeighborY="1022">
        <dgm:presLayoutVars>
          <dgm:bulletEnabled val="1"/>
        </dgm:presLayoutVars>
      </dgm:prSet>
      <dgm:spPr/>
    </dgm:pt>
    <dgm:pt modelId="{A54C9AFE-AC03-B646-8112-BA32A81C656C}" type="pres">
      <dgm:prSet presAssocID="{34C59D26-D0A5-40D0-B821-BA40E22F4077}" presName="sibTrans" presStyleCnt="0"/>
      <dgm:spPr/>
    </dgm:pt>
    <dgm:pt modelId="{32D7725A-E3AE-EC47-AAA6-CF3900951B77}" type="pres">
      <dgm:prSet presAssocID="{CFC066CE-678A-4681-B757-DB62E05CFE24}" presName="node" presStyleLbl="node1" presStyleIdx="10" presStyleCnt="12">
        <dgm:presLayoutVars>
          <dgm:bulletEnabled val="1"/>
        </dgm:presLayoutVars>
      </dgm:prSet>
      <dgm:spPr/>
    </dgm:pt>
    <dgm:pt modelId="{F93EFEFD-09D0-6048-9D6D-6EDF0F5B7272}" type="pres">
      <dgm:prSet presAssocID="{DC7DCE22-9F10-4205-9783-21F72ABB0F57}" presName="sibTrans" presStyleCnt="0"/>
      <dgm:spPr/>
    </dgm:pt>
    <dgm:pt modelId="{3086CEEB-AB5E-694C-8BEF-38FAC2A54D14}" type="pres">
      <dgm:prSet presAssocID="{1C026896-1B00-42B9-A213-90091E38D6B7}" presName="node" presStyleLbl="node1" presStyleIdx="11" presStyleCnt="12">
        <dgm:presLayoutVars>
          <dgm:bulletEnabled val="1"/>
        </dgm:presLayoutVars>
      </dgm:prSet>
      <dgm:spPr/>
    </dgm:pt>
  </dgm:ptLst>
  <dgm:cxnLst>
    <dgm:cxn modelId="{D6030B09-068D-E845-B3C7-1B3FB77EFFE3}" type="presOf" srcId="{CFC066CE-678A-4681-B757-DB62E05CFE24}" destId="{32D7725A-E3AE-EC47-AAA6-CF3900951B77}" srcOrd="0" destOrd="0" presId="urn:microsoft.com/office/officeart/2005/8/layout/default"/>
    <dgm:cxn modelId="{CA358220-66A9-5F45-9871-8B68C95B7C18}" type="presOf" srcId="{C7BB9350-DEB9-4F3D-83E6-1F86C9416C28}" destId="{1821568C-3DA1-9042-9205-EA12F525FC01}" srcOrd="0" destOrd="0" presId="urn:microsoft.com/office/officeart/2005/8/layout/default"/>
    <dgm:cxn modelId="{5874B722-8F59-45E7-897E-1613CAB90465}" srcId="{702F3144-E39E-4A62-A9D7-25F2DE9B879E}" destId="{07DE4355-3ABF-4E44-AFCB-2831E76EBA80}" srcOrd="4" destOrd="0" parTransId="{C24A02CB-A14E-4A89-827E-0D2650854ECD}" sibTransId="{4A6C8458-2057-49A8-B30D-05CDAB4EE480}"/>
    <dgm:cxn modelId="{C810A328-8027-4D45-9816-8E467C7A9548}" srcId="{702F3144-E39E-4A62-A9D7-25F2DE9B879E}" destId="{4B555C61-4BDF-4CAE-9DA3-F59D9ECB2952}" srcOrd="9" destOrd="0" parTransId="{50E80FBD-4B92-446D-9951-E4B0E80ED805}" sibTransId="{34C59D26-D0A5-40D0-B821-BA40E22F4077}"/>
    <dgm:cxn modelId="{F728A628-B55F-C34F-B0FE-279664B033DD}" type="presOf" srcId="{57BEE3F2-FC3B-4593-B68A-F62C513EF075}" destId="{EEB9D5E2-68FA-7C4F-8714-6AC95E4BCCFD}" srcOrd="0" destOrd="0" presId="urn:microsoft.com/office/officeart/2005/8/layout/default"/>
    <dgm:cxn modelId="{D247FB28-0E86-4040-9F5E-B63D7E147383}" type="presOf" srcId="{1C026896-1B00-42B9-A213-90091E38D6B7}" destId="{3086CEEB-AB5E-694C-8BEF-38FAC2A54D14}" srcOrd="0" destOrd="0" presId="urn:microsoft.com/office/officeart/2005/8/layout/default"/>
    <dgm:cxn modelId="{90E0312B-F1CA-4435-BF0C-6066A3FBFCF4}" srcId="{702F3144-E39E-4A62-A9D7-25F2DE9B879E}" destId="{C7BB9350-DEB9-4F3D-83E6-1F86C9416C28}" srcOrd="6" destOrd="0" parTransId="{2AC4C2E6-CBC7-41E1-9C0A-158ED0E194E8}" sibTransId="{D47463B8-0650-41EE-BC9F-E99E26D779DC}"/>
    <dgm:cxn modelId="{31E1A32B-7A49-4263-9BD0-51DA5DE6B455}" srcId="{702F3144-E39E-4A62-A9D7-25F2DE9B879E}" destId="{1C026896-1B00-42B9-A213-90091E38D6B7}" srcOrd="11" destOrd="0" parTransId="{5338EAEE-2D56-4818-9823-0D1847C9E0FF}" sibTransId="{362085B9-3048-4719-804B-AD584C415BE9}"/>
    <dgm:cxn modelId="{50CF2E3B-8BD6-49C7-A0C2-26C7499648CA}" srcId="{702F3144-E39E-4A62-A9D7-25F2DE9B879E}" destId="{A73969D5-3ABA-4427-B219-33CE8C84A5D4}" srcOrd="1" destOrd="0" parTransId="{6BF65F9D-0CD4-46BD-B812-D517840CB326}" sibTransId="{58E413CE-9007-44E8-BD94-E3FC7D896870}"/>
    <dgm:cxn modelId="{7FC37E41-9D04-4CCF-A3E8-5E6CF1CFD7FF}" srcId="{702F3144-E39E-4A62-A9D7-25F2DE9B879E}" destId="{E680B507-DFF9-4AE4-84EE-E3AB8B150028}" srcOrd="3" destOrd="0" parTransId="{72D5BA97-2790-44B8-AAF0-7C54000885F7}" sibTransId="{B3246C2B-7EBA-40EF-979E-3F544846467B}"/>
    <dgm:cxn modelId="{EBA7A241-BAAB-944E-8AD3-C92E4B8FE79C}" type="presOf" srcId="{FB5C25E8-CE00-4EC5-85BD-CC52345E1418}" destId="{105EA56F-42CD-2146-9A88-551068CB78EE}" srcOrd="0" destOrd="0" presId="urn:microsoft.com/office/officeart/2005/8/layout/default"/>
    <dgm:cxn modelId="{1D21DC43-0368-F04B-A0D7-A4A9593DC2B3}" type="presOf" srcId="{A73969D5-3ABA-4427-B219-33CE8C84A5D4}" destId="{1DE13874-E347-0345-BCBF-A94C9E0DDA75}" srcOrd="0" destOrd="0" presId="urn:microsoft.com/office/officeart/2005/8/layout/default"/>
    <dgm:cxn modelId="{891F0D4B-B6BF-45B0-8908-7EC17E1ED7A3}" srcId="{702F3144-E39E-4A62-A9D7-25F2DE9B879E}" destId="{0165C17A-F0D7-4CF1-B6F9-558B88E1C091}" srcOrd="0" destOrd="0" parTransId="{41986AB5-B124-4366-AD69-2C95D02E7652}" sibTransId="{36895CAB-E3A1-4E3C-9FE9-49C2C13D79AA}"/>
    <dgm:cxn modelId="{BC834D58-4128-410C-B649-913834890B77}" srcId="{702F3144-E39E-4A62-A9D7-25F2DE9B879E}" destId="{FB5C25E8-CE00-4EC5-85BD-CC52345E1418}" srcOrd="5" destOrd="0" parTransId="{59235ADC-EDD8-4D2B-A2CE-8BB56A0B25A1}" sibTransId="{0708D4A4-DCE7-4954-A254-84AE3D104A85}"/>
    <dgm:cxn modelId="{197BCB58-6F04-4FE2-8084-4DD811B20C28}" srcId="{702F3144-E39E-4A62-A9D7-25F2DE9B879E}" destId="{BA64F60B-FED5-4814-A82E-02336BC70B3B}" srcOrd="2" destOrd="0" parTransId="{343D5AD6-C5AB-402E-A6E0-6A7A02BDB7B2}" sibTransId="{E81F0625-CC29-43AE-8A0F-8DA9CDC356F8}"/>
    <dgm:cxn modelId="{88D3B28B-79FD-1043-9A00-C2C051AB8F4A}" type="presOf" srcId="{07DE4355-3ABF-4E44-AFCB-2831E76EBA80}" destId="{E30FF018-5758-364B-BEEE-225F0DE1ED01}" srcOrd="0" destOrd="0" presId="urn:microsoft.com/office/officeart/2005/8/layout/default"/>
    <dgm:cxn modelId="{E101E19C-4C85-4293-AFBA-CF12E2005173}" srcId="{702F3144-E39E-4A62-A9D7-25F2DE9B879E}" destId="{CFC066CE-678A-4681-B757-DB62E05CFE24}" srcOrd="10" destOrd="0" parTransId="{BA334F7B-F164-4475-ADFB-72F9BDE8168C}" sibTransId="{DC7DCE22-9F10-4205-9783-21F72ABB0F57}"/>
    <dgm:cxn modelId="{07F81FA0-EF1E-BA48-96A9-242B9B62F78F}" type="presOf" srcId="{E680B507-DFF9-4AE4-84EE-E3AB8B150028}" destId="{0CD364C0-A05E-8246-8B99-1BDBA6F35EC7}" srcOrd="0" destOrd="0" presId="urn:microsoft.com/office/officeart/2005/8/layout/default"/>
    <dgm:cxn modelId="{211EEDAA-A9FB-8E4E-8F20-C0726A9FD947}" type="presOf" srcId="{702F3144-E39E-4A62-A9D7-25F2DE9B879E}" destId="{DE0F0D51-71D9-3046-8E32-559341A255C4}" srcOrd="0" destOrd="0" presId="urn:microsoft.com/office/officeart/2005/8/layout/default"/>
    <dgm:cxn modelId="{65AADEB0-3643-684D-918A-F33AE5922031}" type="presOf" srcId="{BA64F60B-FED5-4814-A82E-02336BC70B3B}" destId="{96794AA2-5E75-8440-ABD5-BB0C98493F56}" srcOrd="0" destOrd="0" presId="urn:microsoft.com/office/officeart/2005/8/layout/default"/>
    <dgm:cxn modelId="{CCDAA5C9-6372-9445-89E1-BEE1107BBE5B}" type="presOf" srcId="{441DD195-AB03-496F-86C0-C5375E6A1025}" destId="{D1BBC3B1-DA41-444E-A194-3D19F10602DB}" srcOrd="0" destOrd="0" presId="urn:microsoft.com/office/officeart/2005/8/layout/default"/>
    <dgm:cxn modelId="{1E56C9CA-C145-8749-A85F-5B4D4F018CD0}" type="presOf" srcId="{4B555C61-4BDF-4CAE-9DA3-F59D9ECB2952}" destId="{A84D5467-1A1E-C64A-9050-7E2FEFE75AFA}" srcOrd="0" destOrd="0" presId="urn:microsoft.com/office/officeart/2005/8/layout/default"/>
    <dgm:cxn modelId="{770195E1-F9F4-43B2-8444-5A850DF2F3A5}" srcId="{702F3144-E39E-4A62-A9D7-25F2DE9B879E}" destId="{57BEE3F2-FC3B-4593-B68A-F62C513EF075}" srcOrd="7" destOrd="0" parTransId="{2B3E6CB0-AB9C-40CE-AE81-1C0DFF965A1E}" sibTransId="{81E52BB1-835E-45C6-871C-AD94BD1D0E21}"/>
    <dgm:cxn modelId="{54DEBEF0-7EB7-4AC5-9039-E4879348DC99}" srcId="{702F3144-E39E-4A62-A9D7-25F2DE9B879E}" destId="{441DD195-AB03-496F-86C0-C5375E6A1025}" srcOrd="8" destOrd="0" parTransId="{BFDE5F24-DB21-4BB3-8109-4CDB6BFF8100}" sibTransId="{762B1394-5B90-47A0-8784-B76945A77A1A}"/>
    <dgm:cxn modelId="{B523B8FE-365C-AF42-A9C8-CAA7A2F29161}" type="presOf" srcId="{0165C17A-F0D7-4CF1-B6F9-558B88E1C091}" destId="{D2DC9730-AC05-7842-A119-99B0739C6FBC}" srcOrd="0" destOrd="0" presId="urn:microsoft.com/office/officeart/2005/8/layout/default"/>
    <dgm:cxn modelId="{F04189A9-E627-C741-9078-7514680420BB}" type="presParOf" srcId="{DE0F0D51-71D9-3046-8E32-559341A255C4}" destId="{D2DC9730-AC05-7842-A119-99B0739C6FBC}" srcOrd="0" destOrd="0" presId="urn:microsoft.com/office/officeart/2005/8/layout/default"/>
    <dgm:cxn modelId="{B8D3D3BC-E9AF-3848-B092-0912996A9660}" type="presParOf" srcId="{DE0F0D51-71D9-3046-8E32-559341A255C4}" destId="{E2BFDD60-62C7-C84A-AEB4-A1826DA9D1E3}" srcOrd="1" destOrd="0" presId="urn:microsoft.com/office/officeart/2005/8/layout/default"/>
    <dgm:cxn modelId="{EC3F688D-F2A9-F94C-A434-A14DBFF8BB55}" type="presParOf" srcId="{DE0F0D51-71D9-3046-8E32-559341A255C4}" destId="{1DE13874-E347-0345-BCBF-A94C9E0DDA75}" srcOrd="2" destOrd="0" presId="urn:microsoft.com/office/officeart/2005/8/layout/default"/>
    <dgm:cxn modelId="{F579014C-FD5C-9148-A4AF-762E299B14AC}" type="presParOf" srcId="{DE0F0D51-71D9-3046-8E32-559341A255C4}" destId="{3F1DD9E0-0897-9345-ACA4-2795186BAC48}" srcOrd="3" destOrd="0" presId="urn:microsoft.com/office/officeart/2005/8/layout/default"/>
    <dgm:cxn modelId="{74497524-520F-B547-B50E-AE6EF09B7A42}" type="presParOf" srcId="{DE0F0D51-71D9-3046-8E32-559341A255C4}" destId="{96794AA2-5E75-8440-ABD5-BB0C98493F56}" srcOrd="4" destOrd="0" presId="urn:microsoft.com/office/officeart/2005/8/layout/default"/>
    <dgm:cxn modelId="{956B7F30-EB9C-6C44-AF95-B736402F8551}" type="presParOf" srcId="{DE0F0D51-71D9-3046-8E32-559341A255C4}" destId="{E30BB75B-454B-D841-9D72-621EE4B19475}" srcOrd="5" destOrd="0" presId="urn:microsoft.com/office/officeart/2005/8/layout/default"/>
    <dgm:cxn modelId="{46317689-F09B-2A4A-B58A-112CCE4ED533}" type="presParOf" srcId="{DE0F0D51-71D9-3046-8E32-559341A255C4}" destId="{0CD364C0-A05E-8246-8B99-1BDBA6F35EC7}" srcOrd="6" destOrd="0" presId="urn:microsoft.com/office/officeart/2005/8/layout/default"/>
    <dgm:cxn modelId="{5A0A0A54-59C0-0142-A50B-83845F583D6D}" type="presParOf" srcId="{DE0F0D51-71D9-3046-8E32-559341A255C4}" destId="{BE5C329B-BABF-834C-AB42-85638FB5EF7E}" srcOrd="7" destOrd="0" presId="urn:microsoft.com/office/officeart/2005/8/layout/default"/>
    <dgm:cxn modelId="{627EAFFF-CD6A-A14E-BAE9-2D1DC31A4785}" type="presParOf" srcId="{DE0F0D51-71D9-3046-8E32-559341A255C4}" destId="{E30FF018-5758-364B-BEEE-225F0DE1ED01}" srcOrd="8" destOrd="0" presId="urn:microsoft.com/office/officeart/2005/8/layout/default"/>
    <dgm:cxn modelId="{780498B0-F5D2-954A-9804-6D7D1D9FD465}" type="presParOf" srcId="{DE0F0D51-71D9-3046-8E32-559341A255C4}" destId="{3F035647-016C-234F-97DA-6F8127A0ED92}" srcOrd="9" destOrd="0" presId="urn:microsoft.com/office/officeart/2005/8/layout/default"/>
    <dgm:cxn modelId="{7A80677E-B10E-414F-A2B3-0EC8B1023F2B}" type="presParOf" srcId="{DE0F0D51-71D9-3046-8E32-559341A255C4}" destId="{105EA56F-42CD-2146-9A88-551068CB78EE}" srcOrd="10" destOrd="0" presId="urn:microsoft.com/office/officeart/2005/8/layout/default"/>
    <dgm:cxn modelId="{5EDC0505-7481-9544-86C6-8D7ACBF52B90}" type="presParOf" srcId="{DE0F0D51-71D9-3046-8E32-559341A255C4}" destId="{818D51B0-09E7-1A40-A5A1-119A5A35EA0F}" srcOrd="11" destOrd="0" presId="urn:microsoft.com/office/officeart/2005/8/layout/default"/>
    <dgm:cxn modelId="{1EAEC122-FFCB-1547-BC80-439C6D3ABB50}" type="presParOf" srcId="{DE0F0D51-71D9-3046-8E32-559341A255C4}" destId="{1821568C-3DA1-9042-9205-EA12F525FC01}" srcOrd="12" destOrd="0" presId="urn:microsoft.com/office/officeart/2005/8/layout/default"/>
    <dgm:cxn modelId="{9B5FCC70-EEE8-3949-8792-20AB77791246}" type="presParOf" srcId="{DE0F0D51-71D9-3046-8E32-559341A255C4}" destId="{D8B4BE44-6811-2940-BDBF-A7873F2CA9EF}" srcOrd="13" destOrd="0" presId="urn:microsoft.com/office/officeart/2005/8/layout/default"/>
    <dgm:cxn modelId="{C274B527-DAAC-484D-AA8A-F740F6356460}" type="presParOf" srcId="{DE0F0D51-71D9-3046-8E32-559341A255C4}" destId="{EEB9D5E2-68FA-7C4F-8714-6AC95E4BCCFD}" srcOrd="14" destOrd="0" presId="urn:microsoft.com/office/officeart/2005/8/layout/default"/>
    <dgm:cxn modelId="{D8955B8E-F415-E448-BAA8-2E4304012776}" type="presParOf" srcId="{DE0F0D51-71D9-3046-8E32-559341A255C4}" destId="{F83584A4-0F70-0641-B983-34ECDB1C60CC}" srcOrd="15" destOrd="0" presId="urn:microsoft.com/office/officeart/2005/8/layout/default"/>
    <dgm:cxn modelId="{2D1675CD-BBC3-8742-96F4-78A3685A931A}" type="presParOf" srcId="{DE0F0D51-71D9-3046-8E32-559341A255C4}" destId="{D1BBC3B1-DA41-444E-A194-3D19F10602DB}" srcOrd="16" destOrd="0" presId="urn:microsoft.com/office/officeart/2005/8/layout/default"/>
    <dgm:cxn modelId="{AEE78DE7-2539-1D4B-8D5E-289E38898FB5}" type="presParOf" srcId="{DE0F0D51-71D9-3046-8E32-559341A255C4}" destId="{2727CEF1-2761-8848-A35C-7B186B233127}" srcOrd="17" destOrd="0" presId="urn:microsoft.com/office/officeart/2005/8/layout/default"/>
    <dgm:cxn modelId="{0FB0DC06-D4F9-D649-8412-A7192E97E922}" type="presParOf" srcId="{DE0F0D51-71D9-3046-8E32-559341A255C4}" destId="{A84D5467-1A1E-C64A-9050-7E2FEFE75AFA}" srcOrd="18" destOrd="0" presId="urn:microsoft.com/office/officeart/2005/8/layout/default"/>
    <dgm:cxn modelId="{993B6B7C-AAA3-5C46-82A2-188A332551BF}" type="presParOf" srcId="{DE0F0D51-71D9-3046-8E32-559341A255C4}" destId="{A54C9AFE-AC03-B646-8112-BA32A81C656C}" srcOrd="19" destOrd="0" presId="urn:microsoft.com/office/officeart/2005/8/layout/default"/>
    <dgm:cxn modelId="{F02B2915-207F-5846-93BB-80D16CBBE7E6}" type="presParOf" srcId="{DE0F0D51-71D9-3046-8E32-559341A255C4}" destId="{32D7725A-E3AE-EC47-AAA6-CF3900951B77}" srcOrd="20" destOrd="0" presId="urn:microsoft.com/office/officeart/2005/8/layout/default"/>
    <dgm:cxn modelId="{4704E562-4AEA-F743-AD4D-A2E2FFA29826}" type="presParOf" srcId="{DE0F0D51-71D9-3046-8E32-559341A255C4}" destId="{F93EFEFD-09D0-6048-9D6D-6EDF0F5B7272}" srcOrd="21" destOrd="0" presId="urn:microsoft.com/office/officeart/2005/8/layout/default"/>
    <dgm:cxn modelId="{0DF25D8F-5D09-A94C-9686-E310581BBE26}" type="presParOf" srcId="{DE0F0D51-71D9-3046-8E32-559341A255C4}" destId="{3086CEEB-AB5E-694C-8BEF-38FAC2A54D14}" srcOrd="2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4AC3BDF2-32E4-4851-A0CA-E6862DEF092D}" type="doc">
      <dgm:prSet loTypeId="urn:microsoft.com/office/officeart/2018/layout/CircleProcess" loCatId="simpleprocesssa" qsTypeId="urn:microsoft.com/office/officeart/2005/8/quickstyle/simple2" qsCatId="simple" csTypeId="urn:microsoft.com/office/officeart/2005/8/colors/accent2_4" csCatId="accent2" phldr="1"/>
      <dgm:spPr/>
      <dgm:t>
        <a:bodyPr/>
        <a:lstStyle/>
        <a:p>
          <a:endParaRPr lang="en-US"/>
        </a:p>
      </dgm:t>
    </dgm:pt>
    <dgm:pt modelId="{3D90CB76-4F61-4EB3-BB59-1015DE95BBA6}">
      <dgm:prSet custT="1"/>
      <dgm:spPr/>
      <dgm:t>
        <a:bodyPr/>
        <a:lstStyle/>
        <a:p>
          <a:r>
            <a:rPr lang="en-GB" sz="4000" b="1" dirty="0">
              <a:latin typeface="Century Gothic" panose="020B0502020202020204" pitchFamily="34" charset="0"/>
            </a:rPr>
            <a:t>1</a:t>
          </a:r>
          <a:r>
            <a:rPr lang="en-GB" sz="3200" b="0" dirty="0">
              <a:latin typeface="Century Gothic" panose="020B0502020202020204" pitchFamily="34" charset="0"/>
            </a:rPr>
            <a:t>. </a:t>
          </a:r>
          <a:br>
            <a:rPr lang="en-GB" sz="3200" b="0" dirty="0">
              <a:latin typeface="Century Gothic" panose="020B0502020202020204" pitchFamily="34" charset="0"/>
            </a:rPr>
          </a:br>
          <a:r>
            <a:rPr lang="en-GB" sz="2800" b="0" dirty="0">
              <a:latin typeface="Century Gothic" panose="020B0502020202020204" pitchFamily="34" charset="0"/>
            </a:rPr>
            <a:t>Evaluation</a:t>
          </a:r>
          <a:endParaRPr lang="en-US" sz="2800" b="0" dirty="0">
            <a:latin typeface="Century Gothic" panose="020B0502020202020204" pitchFamily="34" charset="0"/>
          </a:endParaRPr>
        </a:p>
      </dgm:t>
    </dgm:pt>
    <dgm:pt modelId="{D568BA04-7D5D-47BC-B5FC-39494BFE8C5D}" type="parTrans" cxnId="{947867BF-5735-40F0-88A4-36C47E991B5C}">
      <dgm:prSet/>
      <dgm:spPr/>
      <dgm:t>
        <a:bodyPr/>
        <a:lstStyle/>
        <a:p>
          <a:endParaRPr lang="en-US"/>
        </a:p>
      </dgm:t>
    </dgm:pt>
    <dgm:pt modelId="{FDAEBB61-0F30-4C08-A1FE-B14055690350}" type="sibTrans" cxnId="{947867BF-5735-40F0-88A4-36C47E991B5C}">
      <dgm:prSet/>
      <dgm:spPr/>
      <dgm:t>
        <a:bodyPr/>
        <a:lstStyle/>
        <a:p>
          <a:endParaRPr lang="en-US"/>
        </a:p>
      </dgm:t>
    </dgm:pt>
    <dgm:pt modelId="{0E157EC7-151E-4F09-8B32-6013ABAA2013}">
      <dgm:prSet custT="1"/>
      <dgm:spPr/>
      <dgm:t>
        <a:bodyPr/>
        <a:lstStyle/>
        <a:p>
          <a:r>
            <a:rPr lang="en-GB" sz="4000" b="1" dirty="0">
              <a:latin typeface="Century Gothic" panose="020B0502020202020204" pitchFamily="34" charset="0"/>
            </a:rPr>
            <a:t>2</a:t>
          </a:r>
          <a:r>
            <a:rPr lang="en-GB" sz="3200" b="0" dirty="0">
              <a:latin typeface="Century Gothic" panose="020B0502020202020204" pitchFamily="34" charset="0"/>
            </a:rPr>
            <a:t>.</a:t>
          </a:r>
          <a:br>
            <a:rPr lang="en-GB" sz="3200" b="0" dirty="0">
              <a:latin typeface="Century Gothic" panose="020B0502020202020204" pitchFamily="34" charset="0"/>
            </a:rPr>
          </a:br>
          <a:r>
            <a:rPr lang="en-GB" sz="2800" b="0" dirty="0" err="1">
              <a:latin typeface="Century Gothic" panose="020B0502020202020204" pitchFamily="34" charset="0"/>
            </a:rPr>
            <a:t>Stratégie</a:t>
          </a:r>
          <a:endParaRPr lang="en-US" sz="2800" b="0" dirty="0">
            <a:latin typeface="Century Gothic" panose="020B0502020202020204" pitchFamily="34" charset="0"/>
          </a:endParaRPr>
        </a:p>
      </dgm:t>
    </dgm:pt>
    <dgm:pt modelId="{3FBD397F-9940-49CA-B666-D7BFABA9DC08}" type="parTrans" cxnId="{8C88CC51-7F64-44D1-94F9-A07873B0058A}">
      <dgm:prSet/>
      <dgm:spPr/>
      <dgm:t>
        <a:bodyPr/>
        <a:lstStyle/>
        <a:p>
          <a:endParaRPr lang="en-US"/>
        </a:p>
      </dgm:t>
    </dgm:pt>
    <dgm:pt modelId="{93E4889E-A17C-4DB8-A421-5D00E2D5A0F0}" type="sibTrans" cxnId="{8C88CC51-7F64-44D1-94F9-A07873B0058A}">
      <dgm:prSet/>
      <dgm:spPr/>
      <dgm:t>
        <a:bodyPr/>
        <a:lstStyle/>
        <a:p>
          <a:endParaRPr lang="en-US"/>
        </a:p>
      </dgm:t>
    </dgm:pt>
    <dgm:pt modelId="{2CBC14AC-0A27-4815-B2B5-E0430C9517B7}">
      <dgm:prSet custT="1"/>
      <dgm:spPr/>
      <dgm:t>
        <a:bodyPr/>
        <a:lstStyle/>
        <a:p>
          <a:r>
            <a:rPr lang="en-GB" sz="4000" b="1" dirty="0">
              <a:latin typeface="Century Gothic" panose="020B0502020202020204" pitchFamily="34" charset="0"/>
            </a:rPr>
            <a:t>3</a:t>
          </a:r>
          <a:r>
            <a:rPr lang="en-GB" sz="3200" b="0" dirty="0">
              <a:latin typeface="Century Gothic" panose="020B0502020202020204" pitchFamily="34" charset="0"/>
            </a:rPr>
            <a:t>.</a:t>
          </a:r>
          <a:br>
            <a:rPr lang="en-GB" sz="3200" b="0" dirty="0">
              <a:latin typeface="Century Gothic" panose="020B0502020202020204" pitchFamily="34" charset="0"/>
            </a:rPr>
          </a:br>
          <a:r>
            <a:rPr lang="en-GB" sz="2800" b="0" dirty="0" err="1">
              <a:latin typeface="Century Gothic" panose="020B0502020202020204" pitchFamily="34" charset="0"/>
            </a:rPr>
            <a:t>Implé</a:t>
          </a:r>
          <a:r>
            <a:rPr lang="en-GB" sz="2800" b="0" dirty="0">
              <a:latin typeface="Century Gothic" panose="020B0502020202020204" pitchFamily="34" charset="0"/>
            </a:rPr>
            <a:t>-mentation</a:t>
          </a:r>
          <a:endParaRPr lang="en-US" sz="2800" b="0" dirty="0">
            <a:latin typeface="Century Gothic" panose="020B0502020202020204" pitchFamily="34" charset="0"/>
          </a:endParaRPr>
        </a:p>
      </dgm:t>
    </dgm:pt>
    <dgm:pt modelId="{F5DB2C6A-5EF9-45E0-B04F-FE186ECFD56E}" type="parTrans" cxnId="{5006932C-6C55-40AF-9F1D-B8A6D13FFE39}">
      <dgm:prSet/>
      <dgm:spPr/>
      <dgm:t>
        <a:bodyPr/>
        <a:lstStyle/>
        <a:p>
          <a:endParaRPr lang="en-US"/>
        </a:p>
      </dgm:t>
    </dgm:pt>
    <dgm:pt modelId="{4A8B799E-5594-4CA3-92A0-8D96CC08F95C}" type="sibTrans" cxnId="{5006932C-6C55-40AF-9F1D-B8A6D13FFE39}">
      <dgm:prSet/>
      <dgm:spPr/>
      <dgm:t>
        <a:bodyPr/>
        <a:lstStyle/>
        <a:p>
          <a:endParaRPr lang="en-US"/>
        </a:p>
      </dgm:t>
    </dgm:pt>
    <dgm:pt modelId="{041EF1E6-FD39-5140-9FB1-875C4898588E}" type="pres">
      <dgm:prSet presAssocID="{4AC3BDF2-32E4-4851-A0CA-E6862DEF092D}" presName="Name0" presStyleCnt="0">
        <dgm:presLayoutVars>
          <dgm:chMax val="11"/>
          <dgm:chPref val="11"/>
          <dgm:dir/>
          <dgm:resizeHandles/>
        </dgm:presLayoutVars>
      </dgm:prSet>
      <dgm:spPr/>
    </dgm:pt>
    <dgm:pt modelId="{3C455F72-4AD3-0940-8F61-96EA7308739E}" type="pres">
      <dgm:prSet presAssocID="{2CBC14AC-0A27-4815-B2B5-E0430C9517B7}" presName="Accent3" presStyleCnt="0"/>
      <dgm:spPr/>
    </dgm:pt>
    <dgm:pt modelId="{0E841F5A-522B-5A4B-A5D2-585AF442DC72}" type="pres">
      <dgm:prSet presAssocID="{2CBC14AC-0A27-4815-B2B5-E0430C9517B7}" presName="Accent" presStyleLbl="node1" presStyleIdx="0" presStyleCnt="6"/>
      <dgm:spPr/>
    </dgm:pt>
    <dgm:pt modelId="{D49F9356-2715-8D4A-8C7F-F7A0769A259D}" type="pres">
      <dgm:prSet presAssocID="{2CBC14AC-0A27-4815-B2B5-E0430C9517B7}" presName="ParentBackground3" presStyleCnt="0"/>
      <dgm:spPr/>
    </dgm:pt>
    <dgm:pt modelId="{60860869-8568-E546-AF01-9D372C29198C}" type="pres">
      <dgm:prSet presAssocID="{2CBC14AC-0A27-4815-B2B5-E0430C9517B7}" presName="ParentBackground" presStyleLbl="node1" presStyleIdx="1" presStyleCnt="6"/>
      <dgm:spPr/>
    </dgm:pt>
    <dgm:pt modelId="{B5D61C9F-723E-EC4A-8D93-5984D8CC0B66}" type="pres">
      <dgm:prSet presAssocID="{2CBC14AC-0A27-4815-B2B5-E0430C9517B7}" presName="Parent3" presStyleLbl="fgAcc0" presStyleIdx="0" presStyleCnt="0">
        <dgm:presLayoutVars>
          <dgm:chMax val="1"/>
          <dgm:chPref val="1"/>
          <dgm:bulletEnabled val="1"/>
        </dgm:presLayoutVars>
      </dgm:prSet>
      <dgm:spPr/>
    </dgm:pt>
    <dgm:pt modelId="{B1B86EDA-CA70-3C4B-989A-01B1930862FB}" type="pres">
      <dgm:prSet presAssocID="{0E157EC7-151E-4F09-8B32-6013ABAA2013}" presName="Accent2" presStyleCnt="0"/>
      <dgm:spPr/>
    </dgm:pt>
    <dgm:pt modelId="{83904CC3-8811-3743-83D1-038C2726D8AE}" type="pres">
      <dgm:prSet presAssocID="{0E157EC7-151E-4F09-8B32-6013ABAA2013}" presName="Accent" presStyleLbl="node1" presStyleIdx="2" presStyleCnt="6"/>
      <dgm:spPr/>
    </dgm:pt>
    <dgm:pt modelId="{DF95F81C-D019-C744-8CEC-E3B0FADBEDF8}" type="pres">
      <dgm:prSet presAssocID="{0E157EC7-151E-4F09-8B32-6013ABAA2013}" presName="ParentBackground2" presStyleCnt="0"/>
      <dgm:spPr/>
    </dgm:pt>
    <dgm:pt modelId="{859C6764-EA8A-F449-9A47-6A89D8E65BFF}" type="pres">
      <dgm:prSet presAssocID="{0E157EC7-151E-4F09-8B32-6013ABAA2013}" presName="ParentBackground" presStyleLbl="node1" presStyleIdx="3" presStyleCnt="6"/>
      <dgm:spPr/>
    </dgm:pt>
    <dgm:pt modelId="{59DFCF30-CF80-E948-BBAC-5F57F25626ED}" type="pres">
      <dgm:prSet presAssocID="{0E157EC7-151E-4F09-8B32-6013ABAA2013}" presName="Parent2" presStyleLbl="fgAcc0" presStyleIdx="0" presStyleCnt="0">
        <dgm:presLayoutVars>
          <dgm:chMax val="1"/>
          <dgm:chPref val="1"/>
          <dgm:bulletEnabled val="1"/>
        </dgm:presLayoutVars>
      </dgm:prSet>
      <dgm:spPr/>
    </dgm:pt>
    <dgm:pt modelId="{18998168-233C-024C-91A3-387A981D5D04}" type="pres">
      <dgm:prSet presAssocID="{3D90CB76-4F61-4EB3-BB59-1015DE95BBA6}" presName="Accent1" presStyleCnt="0"/>
      <dgm:spPr/>
    </dgm:pt>
    <dgm:pt modelId="{0EF14CEA-6F2A-9142-9539-B289150A278E}" type="pres">
      <dgm:prSet presAssocID="{3D90CB76-4F61-4EB3-BB59-1015DE95BBA6}" presName="Accent" presStyleLbl="node1" presStyleIdx="4" presStyleCnt="6"/>
      <dgm:spPr/>
    </dgm:pt>
    <dgm:pt modelId="{0556E339-D2F7-1841-8024-2E66262F408E}" type="pres">
      <dgm:prSet presAssocID="{3D90CB76-4F61-4EB3-BB59-1015DE95BBA6}" presName="ParentBackground1" presStyleCnt="0"/>
      <dgm:spPr/>
    </dgm:pt>
    <dgm:pt modelId="{38AD0C1B-1F21-BF42-8799-2BBB1A25E467}" type="pres">
      <dgm:prSet presAssocID="{3D90CB76-4F61-4EB3-BB59-1015DE95BBA6}" presName="ParentBackground" presStyleLbl="node1" presStyleIdx="5" presStyleCnt="6"/>
      <dgm:spPr/>
    </dgm:pt>
    <dgm:pt modelId="{B025EB60-55FE-3B49-A08F-96F535A62ED5}" type="pres">
      <dgm:prSet presAssocID="{3D90CB76-4F61-4EB3-BB59-1015DE95BBA6}" presName="Parent1" presStyleLbl="fgAcc0" presStyleIdx="0" presStyleCnt="0">
        <dgm:presLayoutVars>
          <dgm:chMax val="1"/>
          <dgm:chPref val="1"/>
          <dgm:bulletEnabled val="1"/>
        </dgm:presLayoutVars>
      </dgm:prSet>
      <dgm:spPr/>
    </dgm:pt>
  </dgm:ptLst>
  <dgm:cxnLst>
    <dgm:cxn modelId="{4FC82604-3AF0-B940-AD75-206D4F48478B}" type="presOf" srcId="{2CBC14AC-0A27-4815-B2B5-E0430C9517B7}" destId="{60860869-8568-E546-AF01-9D372C29198C}" srcOrd="0" destOrd="0" presId="urn:microsoft.com/office/officeart/2018/layout/CircleProcess"/>
    <dgm:cxn modelId="{5006932C-6C55-40AF-9F1D-B8A6D13FFE39}" srcId="{4AC3BDF2-32E4-4851-A0CA-E6862DEF092D}" destId="{2CBC14AC-0A27-4815-B2B5-E0430C9517B7}" srcOrd="2" destOrd="0" parTransId="{F5DB2C6A-5EF9-45E0-B04F-FE186ECFD56E}" sibTransId="{4A8B799E-5594-4CA3-92A0-8D96CC08F95C}"/>
    <dgm:cxn modelId="{9980074F-9CF9-E94A-9371-9DC2CAD98901}" type="presOf" srcId="{0E157EC7-151E-4F09-8B32-6013ABAA2013}" destId="{859C6764-EA8A-F449-9A47-6A89D8E65BFF}" srcOrd="0" destOrd="0" presId="urn:microsoft.com/office/officeart/2018/layout/CircleProcess"/>
    <dgm:cxn modelId="{8C88CC51-7F64-44D1-94F9-A07873B0058A}" srcId="{4AC3BDF2-32E4-4851-A0CA-E6862DEF092D}" destId="{0E157EC7-151E-4F09-8B32-6013ABAA2013}" srcOrd="1" destOrd="0" parTransId="{3FBD397F-9940-49CA-B666-D7BFABA9DC08}" sibTransId="{93E4889E-A17C-4DB8-A421-5D00E2D5A0F0}"/>
    <dgm:cxn modelId="{ED0D1E72-94E0-4841-9686-23373735EEC9}" type="presOf" srcId="{3D90CB76-4F61-4EB3-BB59-1015DE95BBA6}" destId="{38AD0C1B-1F21-BF42-8799-2BBB1A25E467}" srcOrd="0" destOrd="0" presId="urn:microsoft.com/office/officeart/2018/layout/CircleProcess"/>
    <dgm:cxn modelId="{5558D8A6-200F-6348-8495-A7077BC447E2}" type="presOf" srcId="{2CBC14AC-0A27-4815-B2B5-E0430C9517B7}" destId="{B5D61C9F-723E-EC4A-8D93-5984D8CC0B66}" srcOrd="1" destOrd="0" presId="urn:microsoft.com/office/officeart/2018/layout/CircleProcess"/>
    <dgm:cxn modelId="{947867BF-5735-40F0-88A4-36C47E991B5C}" srcId="{4AC3BDF2-32E4-4851-A0CA-E6862DEF092D}" destId="{3D90CB76-4F61-4EB3-BB59-1015DE95BBA6}" srcOrd="0" destOrd="0" parTransId="{D568BA04-7D5D-47BC-B5FC-39494BFE8C5D}" sibTransId="{FDAEBB61-0F30-4C08-A1FE-B14055690350}"/>
    <dgm:cxn modelId="{1141C4C4-6A90-D64C-B132-98B2D6044BBE}" type="presOf" srcId="{4AC3BDF2-32E4-4851-A0CA-E6862DEF092D}" destId="{041EF1E6-FD39-5140-9FB1-875C4898588E}" srcOrd="0" destOrd="0" presId="urn:microsoft.com/office/officeart/2018/layout/CircleProcess"/>
    <dgm:cxn modelId="{0C82F9E2-6303-CB42-ACAA-C522AD8ADE84}" type="presOf" srcId="{3D90CB76-4F61-4EB3-BB59-1015DE95BBA6}" destId="{B025EB60-55FE-3B49-A08F-96F535A62ED5}" srcOrd="1" destOrd="0" presId="urn:microsoft.com/office/officeart/2018/layout/CircleProcess"/>
    <dgm:cxn modelId="{5B1F77FB-A281-B242-A9A0-58C7EE91C651}" type="presOf" srcId="{0E157EC7-151E-4F09-8B32-6013ABAA2013}" destId="{59DFCF30-CF80-E948-BBAC-5F57F25626ED}" srcOrd="1" destOrd="0" presId="urn:microsoft.com/office/officeart/2018/layout/CircleProcess"/>
    <dgm:cxn modelId="{1AA690AF-1AB7-BD4C-9A08-FCF18CE1C919}" type="presParOf" srcId="{041EF1E6-FD39-5140-9FB1-875C4898588E}" destId="{3C455F72-4AD3-0940-8F61-96EA7308739E}" srcOrd="0" destOrd="0" presId="urn:microsoft.com/office/officeart/2018/layout/CircleProcess"/>
    <dgm:cxn modelId="{61FAF75F-D616-F94B-AA58-0B6239192BC0}" type="presParOf" srcId="{3C455F72-4AD3-0940-8F61-96EA7308739E}" destId="{0E841F5A-522B-5A4B-A5D2-585AF442DC72}" srcOrd="0" destOrd="0" presId="urn:microsoft.com/office/officeart/2018/layout/CircleProcess"/>
    <dgm:cxn modelId="{7B37293C-B19F-934F-B61E-CA5D075C123F}" type="presParOf" srcId="{041EF1E6-FD39-5140-9FB1-875C4898588E}" destId="{D49F9356-2715-8D4A-8C7F-F7A0769A259D}" srcOrd="1" destOrd="0" presId="urn:microsoft.com/office/officeart/2018/layout/CircleProcess"/>
    <dgm:cxn modelId="{826A97D1-F72B-504E-A720-C963D19D498A}" type="presParOf" srcId="{D49F9356-2715-8D4A-8C7F-F7A0769A259D}" destId="{60860869-8568-E546-AF01-9D372C29198C}" srcOrd="0" destOrd="0" presId="urn:microsoft.com/office/officeart/2018/layout/CircleProcess"/>
    <dgm:cxn modelId="{F762851E-8C54-D345-BD77-2625046F89CF}" type="presParOf" srcId="{041EF1E6-FD39-5140-9FB1-875C4898588E}" destId="{B5D61C9F-723E-EC4A-8D93-5984D8CC0B66}" srcOrd="2" destOrd="0" presId="urn:microsoft.com/office/officeart/2018/layout/CircleProcess"/>
    <dgm:cxn modelId="{E8420A28-3E29-D247-8AC8-4B669BF1B222}" type="presParOf" srcId="{041EF1E6-FD39-5140-9FB1-875C4898588E}" destId="{B1B86EDA-CA70-3C4B-989A-01B1930862FB}" srcOrd="3" destOrd="0" presId="urn:microsoft.com/office/officeart/2018/layout/CircleProcess"/>
    <dgm:cxn modelId="{24269DFE-D2B2-A542-B142-D19071289E72}" type="presParOf" srcId="{B1B86EDA-CA70-3C4B-989A-01B1930862FB}" destId="{83904CC3-8811-3743-83D1-038C2726D8AE}" srcOrd="0" destOrd="0" presId="urn:microsoft.com/office/officeart/2018/layout/CircleProcess"/>
    <dgm:cxn modelId="{C3C8BED3-4EA4-2243-AC79-649B04F6A45C}" type="presParOf" srcId="{041EF1E6-FD39-5140-9FB1-875C4898588E}" destId="{DF95F81C-D019-C744-8CEC-E3B0FADBEDF8}" srcOrd="4" destOrd="0" presId="urn:microsoft.com/office/officeart/2018/layout/CircleProcess"/>
    <dgm:cxn modelId="{F1B38E8A-4AC0-D643-A8BA-3925E265E5EB}" type="presParOf" srcId="{DF95F81C-D019-C744-8CEC-E3B0FADBEDF8}" destId="{859C6764-EA8A-F449-9A47-6A89D8E65BFF}" srcOrd="0" destOrd="0" presId="urn:microsoft.com/office/officeart/2018/layout/CircleProcess"/>
    <dgm:cxn modelId="{2FFD9127-6D96-014A-AC5B-771DFEACE706}" type="presParOf" srcId="{041EF1E6-FD39-5140-9FB1-875C4898588E}" destId="{59DFCF30-CF80-E948-BBAC-5F57F25626ED}" srcOrd="5" destOrd="0" presId="urn:microsoft.com/office/officeart/2018/layout/CircleProcess"/>
    <dgm:cxn modelId="{BC99588D-88A4-FD49-A35B-690BDCE1F2D6}" type="presParOf" srcId="{041EF1E6-FD39-5140-9FB1-875C4898588E}" destId="{18998168-233C-024C-91A3-387A981D5D04}" srcOrd="6" destOrd="0" presId="urn:microsoft.com/office/officeart/2018/layout/CircleProcess"/>
    <dgm:cxn modelId="{5AF2D2F6-E31C-2A4B-ABC5-109074C8645D}" type="presParOf" srcId="{18998168-233C-024C-91A3-387A981D5D04}" destId="{0EF14CEA-6F2A-9142-9539-B289150A278E}" srcOrd="0" destOrd="0" presId="urn:microsoft.com/office/officeart/2018/layout/CircleProcess"/>
    <dgm:cxn modelId="{C2F95E68-C1A8-9340-BE8F-882F619BF831}" type="presParOf" srcId="{041EF1E6-FD39-5140-9FB1-875C4898588E}" destId="{0556E339-D2F7-1841-8024-2E66262F408E}" srcOrd="7" destOrd="0" presId="urn:microsoft.com/office/officeart/2018/layout/CircleProcess"/>
    <dgm:cxn modelId="{31E56097-6121-EF43-8A3F-3721D39A6FC3}" type="presParOf" srcId="{0556E339-D2F7-1841-8024-2E66262F408E}" destId="{38AD0C1B-1F21-BF42-8799-2BBB1A25E467}" srcOrd="0" destOrd="0" presId="urn:microsoft.com/office/officeart/2018/layout/CircleProcess"/>
    <dgm:cxn modelId="{4B5DEBA8-A7B3-0D4E-86F1-B445B9E6207B}" type="presParOf" srcId="{041EF1E6-FD39-5140-9FB1-875C4898588E}" destId="{B025EB60-55FE-3B49-A08F-96F535A62ED5}" srcOrd="8" destOrd="0" presId="urn:microsoft.com/office/officeart/2018/layout/Circle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B1729D23-1024-454C-8572-545789AF4E00}" type="doc">
      <dgm:prSet loTypeId="urn:microsoft.com/office/officeart/2005/8/layout/vList2" loCatId="list" qsTypeId="urn:microsoft.com/office/officeart/2005/8/quickstyle/simple1" qsCatId="simple" csTypeId="urn:microsoft.com/office/officeart/2005/8/colors/colorful3" csCatId="colorful"/>
      <dgm:spPr/>
      <dgm:t>
        <a:bodyPr/>
        <a:lstStyle/>
        <a:p>
          <a:endParaRPr lang="en-US"/>
        </a:p>
      </dgm:t>
    </dgm:pt>
    <dgm:pt modelId="{80CAC050-3964-4AAB-90F0-24CE29A19D57}">
      <dgm:prSet/>
      <dgm:spPr/>
      <dgm:t>
        <a:bodyPr/>
        <a:lstStyle/>
        <a:p>
          <a:r>
            <a:rPr lang="en-GB" dirty="0"/>
            <a:t>Work-Life Integrity Standards</a:t>
          </a:r>
          <a:endParaRPr lang="en-US" dirty="0"/>
        </a:p>
      </dgm:t>
    </dgm:pt>
    <dgm:pt modelId="{2ACFFD7A-EC55-495F-893E-3322ABCBC0DA}" type="parTrans" cxnId="{F38A6CBF-70F7-44B8-A158-71F749B96A8F}">
      <dgm:prSet/>
      <dgm:spPr/>
      <dgm:t>
        <a:bodyPr/>
        <a:lstStyle/>
        <a:p>
          <a:endParaRPr lang="en-US"/>
        </a:p>
      </dgm:t>
    </dgm:pt>
    <dgm:pt modelId="{0AA7DD0A-AEAD-4F75-A736-D6616AAD4137}" type="sibTrans" cxnId="{F38A6CBF-70F7-44B8-A158-71F749B96A8F}">
      <dgm:prSet/>
      <dgm:spPr/>
      <dgm:t>
        <a:bodyPr/>
        <a:lstStyle/>
        <a:p>
          <a:endParaRPr lang="en-US"/>
        </a:p>
      </dgm:t>
    </dgm:pt>
    <dgm:pt modelId="{F55035A6-D0B2-4FE4-822C-F77C19FBBB0E}">
      <dgm:prSet/>
      <dgm:spPr/>
      <dgm:t>
        <a:bodyPr/>
        <a:lstStyle/>
        <a:p>
          <a:r>
            <a:rPr lang="en-GB"/>
            <a:t>Return to Work Standards</a:t>
          </a:r>
          <a:endParaRPr lang="en-US"/>
        </a:p>
      </dgm:t>
    </dgm:pt>
    <dgm:pt modelId="{129C7AC5-364C-4078-99DF-EF6466F43E79}" type="parTrans" cxnId="{1EDC9DCF-6BBD-4357-A9D4-ECED20690369}">
      <dgm:prSet/>
      <dgm:spPr/>
      <dgm:t>
        <a:bodyPr/>
        <a:lstStyle/>
        <a:p>
          <a:endParaRPr lang="en-US"/>
        </a:p>
      </dgm:t>
    </dgm:pt>
    <dgm:pt modelId="{190EC5D2-6934-48B5-8EB0-14BB38CDAF7B}" type="sibTrans" cxnId="{1EDC9DCF-6BBD-4357-A9D4-ECED20690369}">
      <dgm:prSet/>
      <dgm:spPr/>
      <dgm:t>
        <a:bodyPr/>
        <a:lstStyle/>
        <a:p>
          <a:endParaRPr lang="en-US"/>
        </a:p>
      </dgm:t>
    </dgm:pt>
    <dgm:pt modelId="{D8A00287-68F2-46FC-8B4E-7AF2E669DAC9}">
      <dgm:prSet/>
      <dgm:spPr/>
      <dgm:t>
        <a:bodyPr/>
        <a:lstStyle/>
        <a:p>
          <a:r>
            <a:rPr lang="en-GB"/>
            <a:t>Physical Wellbeing Standards</a:t>
          </a:r>
          <a:endParaRPr lang="en-US"/>
        </a:p>
      </dgm:t>
    </dgm:pt>
    <dgm:pt modelId="{37AE7FC3-46B5-4D10-8C32-3B6F043B50E2}" type="parTrans" cxnId="{E6FEB495-9129-4B5E-9141-3627F00F66AC}">
      <dgm:prSet/>
      <dgm:spPr/>
      <dgm:t>
        <a:bodyPr/>
        <a:lstStyle/>
        <a:p>
          <a:endParaRPr lang="en-US"/>
        </a:p>
      </dgm:t>
    </dgm:pt>
    <dgm:pt modelId="{D70FB695-FCDE-4743-B7E0-49ED71E3913D}" type="sibTrans" cxnId="{E6FEB495-9129-4B5E-9141-3627F00F66AC}">
      <dgm:prSet/>
      <dgm:spPr/>
      <dgm:t>
        <a:bodyPr/>
        <a:lstStyle/>
        <a:p>
          <a:endParaRPr lang="en-US"/>
        </a:p>
      </dgm:t>
    </dgm:pt>
    <dgm:pt modelId="{864CFCBB-6461-43A1-878F-B8546C9974C3}">
      <dgm:prSet/>
      <dgm:spPr/>
      <dgm:t>
        <a:bodyPr/>
        <a:lstStyle/>
        <a:p>
          <a:r>
            <a:rPr lang="en-GB"/>
            <a:t>Learning &amp; Development Standards</a:t>
          </a:r>
          <a:endParaRPr lang="en-US"/>
        </a:p>
      </dgm:t>
    </dgm:pt>
    <dgm:pt modelId="{5150DB6E-4205-4B65-91F0-8247F43025F3}" type="parTrans" cxnId="{D1D63FE7-78EF-45E7-9412-AA2C04A197C3}">
      <dgm:prSet/>
      <dgm:spPr/>
      <dgm:t>
        <a:bodyPr/>
        <a:lstStyle/>
        <a:p>
          <a:endParaRPr lang="en-US"/>
        </a:p>
      </dgm:t>
    </dgm:pt>
    <dgm:pt modelId="{56911046-2BEC-44A5-8E7C-FF6F56134294}" type="sibTrans" cxnId="{D1D63FE7-78EF-45E7-9412-AA2C04A197C3}">
      <dgm:prSet/>
      <dgm:spPr/>
      <dgm:t>
        <a:bodyPr/>
        <a:lstStyle/>
        <a:p>
          <a:endParaRPr lang="en-US"/>
        </a:p>
      </dgm:t>
    </dgm:pt>
    <dgm:pt modelId="{0A4F0B61-BB6D-4298-BC1C-0EDDCA665293}">
      <dgm:prSet/>
      <dgm:spPr/>
      <dgm:t>
        <a:bodyPr/>
        <a:lstStyle/>
        <a:p>
          <a:r>
            <a:rPr lang="en-GB"/>
            <a:t>Financial Wellbeing Standards</a:t>
          </a:r>
          <a:endParaRPr lang="en-US"/>
        </a:p>
      </dgm:t>
    </dgm:pt>
    <dgm:pt modelId="{EAD8A7A3-ABA8-4F3C-BF5B-BEA18F8E84DE}" type="parTrans" cxnId="{86F0635B-5181-4CEB-BCD8-12C7562734D9}">
      <dgm:prSet/>
      <dgm:spPr/>
      <dgm:t>
        <a:bodyPr/>
        <a:lstStyle/>
        <a:p>
          <a:endParaRPr lang="en-US"/>
        </a:p>
      </dgm:t>
    </dgm:pt>
    <dgm:pt modelId="{E7345463-80A0-4095-BFD1-A806FD5B2C66}" type="sibTrans" cxnId="{86F0635B-5181-4CEB-BCD8-12C7562734D9}">
      <dgm:prSet/>
      <dgm:spPr/>
      <dgm:t>
        <a:bodyPr/>
        <a:lstStyle/>
        <a:p>
          <a:endParaRPr lang="en-US"/>
        </a:p>
      </dgm:t>
    </dgm:pt>
    <dgm:pt modelId="{9FF108DC-B628-4672-9DFB-2E69A9BCE036}">
      <dgm:prSet/>
      <dgm:spPr/>
      <dgm:t>
        <a:bodyPr/>
        <a:lstStyle/>
        <a:p>
          <a:r>
            <a:rPr lang="en-GB"/>
            <a:t>Built Environment Standards</a:t>
          </a:r>
          <a:endParaRPr lang="en-US"/>
        </a:p>
      </dgm:t>
    </dgm:pt>
    <dgm:pt modelId="{3A5BCD6A-B26E-4FC2-96B4-64B7D3265126}" type="parTrans" cxnId="{FCE5DF5C-8F14-4B8F-A61F-52159EE437DF}">
      <dgm:prSet/>
      <dgm:spPr/>
      <dgm:t>
        <a:bodyPr/>
        <a:lstStyle/>
        <a:p>
          <a:endParaRPr lang="en-US"/>
        </a:p>
      </dgm:t>
    </dgm:pt>
    <dgm:pt modelId="{A0AB7C69-BAE8-4692-9452-EADDF62DF4D6}" type="sibTrans" cxnId="{FCE5DF5C-8F14-4B8F-A61F-52159EE437DF}">
      <dgm:prSet/>
      <dgm:spPr/>
      <dgm:t>
        <a:bodyPr/>
        <a:lstStyle/>
        <a:p>
          <a:endParaRPr lang="en-US"/>
        </a:p>
      </dgm:t>
    </dgm:pt>
    <dgm:pt modelId="{16B03D43-46BE-0447-B476-9621414EEDF9}" type="pres">
      <dgm:prSet presAssocID="{B1729D23-1024-454C-8572-545789AF4E00}" presName="linear" presStyleCnt="0">
        <dgm:presLayoutVars>
          <dgm:animLvl val="lvl"/>
          <dgm:resizeHandles val="exact"/>
        </dgm:presLayoutVars>
      </dgm:prSet>
      <dgm:spPr/>
    </dgm:pt>
    <dgm:pt modelId="{5C459A2F-37E3-1C4C-93DF-D279199DC1CF}" type="pres">
      <dgm:prSet presAssocID="{80CAC050-3964-4AAB-90F0-24CE29A19D57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51F4405D-7DE2-DE48-9910-C87097231850}" type="pres">
      <dgm:prSet presAssocID="{0AA7DD0A-AEAD-4F75-A736-D6616AAD4137}" presName="spacer" presStyleCnt="0"/>
      <dgm:spPr/>
    </dgm:pt>
    <dgm:pt modelId="{E4D25307-F2EF-4F4C-A751-C14168BD17C7}" type="pres">
      <dgm:prSet presAssocID="{F55035A6-D0B2-4FE4-822C-F77C19FBBB0E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DB93F540-13DA-144E-8CE8-5FD0C8F1C98F}" type="pres">
      <dgm:prSet presAssocID="{190EC5D2-6934-48B5-8EB0-14BB38CDAF7B}" presName="spacer" presStyleCnt="0"/>
      <dgm:spPr/>
    </dgm:pt>
    <dgm:pt modelId="{AD7CBE66-033B-3746-B4B8-2324D3E6CBCA}" type="pres">
      <dgm:prSet presAssocID="{D8A00287-68F2-46FC-8B4E-7AF2E669DAC9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56B23910-C75C-1E46-A767-51401A0C275B}" type="pres">
      <dgm:prSet presAssocID="{D70FB695-FCDE-4743-B7E0-49ED71E3913D}" presName="spacer" presStyleCnt="0"/>
      <dgm:spPr/>
    </dgm:pt>
    <dgm:pt modelId="{87BB0C48-F38D-FF45-8BA1-EB1F0FA5EBF2}" type="pres">
      <dgm:prSet presAssocID="{864CFCBB-6461-43A1-878F-B8546C9974C3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1F591C49-B8ED-B142-AA5F-4874ABC221A6}" type="pres">
      <dgm:prSet presAssocID="{56911046-2BEC-44A5-8E7C-FF6F56134294}" presName="spacer" presStyleCnt="0"/>
      <dgm:spPr/>
    </dgm:pt>
    <dgm:pt modelId="{2A5CACA0-4D4E-5B47-8E15-E68CA1491F4A}" type="pres">
      <dgm:prSet presAssocID="{0A4F0B61-BB6D-4298-BC1C-0EDDCA665293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99B6AEC5-6724-344E-83AF-8A0FB976D447}" type="pres">
      <dgm:prSet presAssocID="{E7345463-80A0-4095-BFD1-A806FD5B2C66}" presName="spacer" presStyleCnt="0"/>
      <dgm:spPr/>
    </dgm:pt>
    <dgm:pt modelId="{2703D01D-B9B1-FC41-9068-45727C79C1A1}" type="pres">
      <dgm:prSet presAssocID="{9FF108DC-B628-4672-9DFB-2E69A9BCE036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044EE822-16F6-1440-ADD7-EF87B1078DC7}" type="presOf" srcId="{F55035A6-D0B2-4FE4-822C-F77C19FBBB0E}" destId="{E4D25307-F2EF-4F4C-A751-C14168BD17C7}" srcOrd="0" destOrd="0" presId="urn:microsoft.com/office/officeart/2005/8/layout/vList2"/>
    <dgm:cxn modelId="{86F0635B-5181-4CEB-BCD8-12C7562734D9}" srcId="{B1729D23-1024-454C-8572-545789AF4E00}" destId="{0A4F0B61-BB6D-4298-BC1C-0EDDCA665293}" srcOrd="4" destOrd="0" parTransId="{EAD8A7A3-ABA8-4F3C-BF5B-BEA18F8E84DE}" sibTransId="{E7345463-80A0-4095-BFD1-A806FD5B2C66}"/>
    <dgm:cxn modelId="{FCE5DF5C-8F14-4B8F-A61F-52159EE437DF}" srcId="{B1729D23-1024-454C-8572-545789AF4E00}" destId="{9FF108DC-B628-4672-9DFB-2E69A9BCE036}" srcOrd="5" destOrd="0" parTransId="{3A5BCD6A-B26E-4FC2-96B4-64B7D3265126}" sibTransId="{A0AB7C69-BAE8-4692-9452-EADDF62DF4D6}"/>
    <dgm:cxn modelId="{125BD84E-5F02-534C-B3F3-AC556FE9EC6C}" type="presOf" srcId="{D8A00287-68F2-46FC-8B4E-7AF2E669DAC9}" destId="{AD7CBE66-033B-3746-B4B8-2324D3E6CBCA}" srcOrd="0" destOrd="0" presId="urn:microsoft.com/office/officeart/2005/8/layout/vList2"/>
    <dgm:cxn modelId="{E6FEB495-9129-4B5E-9141-3627F00F66AC}" srcId="{B1729D23-1024-454C-8572-545789AF4E00}" destId="{D8A00287-68F2-46FC-8B4E-7AF2E669DAC9}" srcOrd="2" destOrd="0" parTransId="{37AE7FC3-46B5-4D10-8C32-3B6F043B50E2}" sibTransId="{D70FB695-FCDE-4743-B7E0-49ED71E3913D}"/>
    <dgm:cxn modelId="{11539A97-9BAA-5F4C-B7DA-F934D991EF51}" type="presOf" srcId="{80CAC050-3964-4AAB-90F0-24CE29A19D57}" destId="{5C459A2F-37E3-1C4C-93DF-D279199DC1CF}" srcOrd="0" destOrd="0" presId="urn:microsoft.com/office/officeart/2005/8/layout/vList2"/>
    <dgm:cxn modelId="{F446719D-4BD6-174A-889B-0731B8BE0EC2}" type="presOf" srcId="{B1729D23-1024-454C-8572-545789AF4E00}" destId="{16B03D43-46BE-0447-B476-9621414EEDF9}" srcOrd="0" destOrd="0" presId="urn:microsoft.com/office/officeart/2005/8/layout/vList2"/>
    <dgm:cxn modelId="{8721DEA3-247A-8B40-8BDC-816AAE492E2E}" type="presOf" srcId="{864CFCBB-6461-43A1-878F-B8546C9974C3}" destId="{87BB0C48-F38D-FF45-8BA1-EB1F0FA5EBF2}" srcOrd="0" destOrd="0" presId="urn:microsoft.com/office/officeart/2005/8/layout/vList2"/>
    <dgm:cxn modelId="{A9955DB2-50F6-CA4B-BF80-6E919A2A2F27}" type="presOf" srcId="{9FF108DC-B628-4672-9DFB-2E69A9BCE036}" destId="{2703D01D-B9B1-FC41-9068-45727C79C1A1}" srcOrd="0" destOrd="0" presId="urn:microsoft.com/office/officeart/2005/8/layout/vList2"/>
    <dgm:cxn modelId="{F38A6CBF-70F7-44B8-A158-71F749B96A8F}" srcId="{B1729D23-1024-454C-8572-545789AF4E00}" destId="{80CAC050-3964-4AAB-90F0-24CE29A19D57}" srcOrd="0" destOrd="0" parTransId="{2ACFFD7A-EC55-495F-893E-3322ABCBC0DA}" sibTransId="{0AA7DD0A-AEAD-4F75-A736-D6616AAD4137}"/>
    <dgm:cxn modelId="{1EDC9DCF-6BBD-4357-A9D4-ECED20690369}" srcId="{B1729D23-1024-454C-8572-545789AF4E00}" destId="{F55035A6-D0B2-4FE4-822C-F77C19FBBB0E}" srcOrd="1" destOrd="0" parTransId="{129C7AC5-364C-4078-99DF-EF6466F43E79}" sibTransId="{190EC5D2-6934-48B5-8EB0-14BB38CDAF7B}"/>
    <dgm:cxn modelId="{D1D63FE7-78EF-45E7-9412-AA2C04A197C3}" srcId="{B1729D23-1024-454C-8572-545789AF4E00}" destId="{864CFCBB-6461-43A1-878F-B8546C9974C3}" srcOrd="3" destOrd="0" parTransId="{5150DB6E-4205-4B65-91F0-8247F43025F3}" sibTransId="{56911046-2BEC-44A5-8E7C-FF6F56134294}"/>
    <dgm:cxn modelId="{0CCA51FD-AC7D-9C44-B409-4E749CFAAC23}" type="presOf" srcId="{0A4F0B61-BB6D-4298-BC1C-0EDDCA665293}" destId="{2A5CACA0-4D4E-5B47-8E15-E68CA1491F4A}" srcOrd="0" destOrd="0" presId="urn:microsoft.com/office/officeart/2005/8/layout/vList2"/>
    <dgm:cxn modelId="{9EEB96F3-0995-0846-B687-0531429215C2}" type="presParOf" srcId="{16B03D43-46BE-0447-B476-9621414EEDF9}" destId="{5C459A2F-37E3-1C4C-93DF-D279199DC1CF}" srcOrd="0" destOrd="0" presId="urn:microsoft.com/office/officeart/2005/8/layout/vList2"/>
    <dgm:cxn modelId="{65CBCA97-A306-9244-B47A-36C5753CC6EB}" type="presParOf" srcId="{16B03D43-46BE-0447-B476-9621414EEDF9}" destId="{51F4405D-7DE2-DE48-9910-C87097231850}" srcOrd="1" destOrd="0" presId="urn:microsoft.com/office/officeart/2005/8/layout/vList2"/>
    <dgm:cxn modelId="{76DA22AB-53AD-8247-908D-CB6930C98A36}" type="presParOf" srcId="{16B03D43-46BE-0447-B476-9621414EEDF9}" destId="{E4D25307-F2EF-4F4C-A751-C14168BD17C7}" srcOrd="2" destOrd="0" presId="urn:microsoft.com/office/officeart/2005/8/layout/vList2"/>
    <dgm:cxn modelId="{22FDBA13-350C-D84B-9BAE-3A5D948B87A6}" type="presParOf" srcId="{16B03D43-46BE-0447-B476-9621414EEDF9}" destId="{DB93F540-13DA-144E-8CE8-5FD0C8F1C98F}" srcOrd="3" destOrd="0" presId="urn:microsoft.com/office/officeart/2005/8/layout/vList2"/>
    <dgm:cxn modelId="{27236A48-187C-DD4F-BB26-5916D49DF188}" type="presParOf" srcId="{16B03D43-46BE-0447-B476-9621414EEDF9}" destId="{AD7CBE66-033B-3746-B4B8-2324D3E6CBCA}" srcOrd="4" destOrd="0" presId="urn:microsoft.com/office/officeart/2005/8/layout/vList2"/>
    <dgm:cxn modelId="{23C6FE19-49C8-A24F-93F8-7481C8FE8B96}" type="presParOf" srcId="{16B03D43-46BE-0447-B476-9621414EEDF9}" destId="{56B23910-C75C-1E46-A767-51401A0C275B}" srcOrd="5" destOrd="0" presId="urn:microsoft.com/office/officeart/2005/8/layout/vList2"/>
    <dgm:cxn modelId="{A1B99859-33B8-5F49-8DC2-48C30F165D30}" type="presParOf" srcId="{16B03D43-46BE-0447-B476-9621414EEDF9}" destId="{87BB0C48-F38D-FF45-8BA1-EB1F0FA5EBF2}" srcOrd="6" destOrd="0" presId="urn:microsoft.com/office/officeart/2005/8/layout/vList2"/>
    <dgm:cxn modelId="{561F0479-891D-BD48-8277-BA0DC86BA41D}" type="presParOf" srcId="{16B03D43-46BE-0447-B476-9621414EEDF9}" destId="{1F591C49-B8ED-B142-AA5F-4874ABC221A6}" srcOrd="7" destOrd="0" presId="urn:microsoft.com/office/officeart/2005/8/layout/vList2"/>
    <dgm:cxn modelId="{B72B9813-A39F-8440-A1A4-7304C45B614D}" type="presParOf" srcId="{16B03D43-46BE-0447-B476-9621414EEDF9}" destId="{2A5CACA0-4D4E-5B47-8E15-E68CA1491F4A}" srcOrd="8" destOrd="0" presId="urn:microsoft.com/office/officeart/2005/8/layout/vList2"/>
    <dgm:cxn modelId="{14AB76DC-63BF-E74A-921C-89F4993E678C}" type="presParOf" srcId="{16B03D43-46BE-0447-B476-9621414EEDF9}" destId="{99B6AEC5-6724-344E-83AF-8A0FB976D447}" srcOrd="9" destOrd="0" presId="urn:microsoft.com/office/officeart/2005/8/layout/vList2"/>
    <dgm:cxn modelId="{CD04B842-E91C-1D4C-8FF8-E376E309A547}" type="presParOf" srcId="{16B03D43-46BE-0447-B476-9621414EEDF9}" destId="{2703D01D-B9B1-FC41-9068-45727C79C1A1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6914A7B-D20C-4E41-B28C-F5A33A0CE0DA}" type="doc">
      <dgm:prSet loTypeId="urn:microsoft.com/office/officeart/2005/8/layout/gear1" loCatId="" qsTypeId="urn:microsoft.com/office/officeart/2005/8/quickstyle/simple2" qsCatId="simple" csTypeId="urn:microsoft.com/office/officeart/2005/8/colors/colorful1" csCatId="colorful" phldr="1"/>
      <dgm:spPr/>
    </dgm:pt>
    <dgm:pt modelId="{5D8DAFC2-1478-9141-98D8-FCF6734DB2C4}">
      <dgm:prSet phldrT="[Text]" custT="1"/>
      <dgm:spPr/>
      <dgm:t>
        <a:bodyPr/>
        <a:lstStyle/>
        <a:p>
          <a:r>
            <a:rPr lang="en-GB" sz="2400" dirty="0" err="1"/>
            <a:t>Sommeil</a:t>
          </a:r>
          <a:endParaRPr lang="en-GB" sz="2400" dirty="0"/>
        </a:p>
      </dgm:t>
    </dgm:pt>
    <dgm:pt modelId="{78D828C5-B486-D746-A1AF-17C35A49E744}" type="parTrans" cxnId="{3C78039A-8A8F-474A-8785-440C221B44B7}">
      <dgm:prSet/>
      <dgm:spPr/>
      <dgm:t>
        <a:bodyPr/>
        <a:lstStyle/>
        <a:p>
          <a:endParaRPr lang="en-GB"/>
        </a:p>
      </dgm:t>
    </dgm:pt>
    <dgm:pt modelId="{89939F4D-5B7D-CF49-BCB0-6A1BBE7352F3}" type="sibTrans" cxnId="{3C78039A-8A8F-474A-8785-440C221B44B7}">
      <dgm:prSet/>
      <dgm:spPr/>
      <dgm:t>
        <a:bodyPr/>
        <a:lstStyle/>
        <a:p>
          <a:endParaRPr lang="en-GB"/>
        </a:p>
      </dgm:t>
    </dgm:pt>
    <dgm:pt modelId="{778D8671-5724-7D4F-87C3-E867BEB937DD}">
      <dgm:prSet phldrT="[Text]"/>
      <dgm:spPr/>
      <dgm:t>
        <a:bodyPr/>
        <a:lstStyle/>
        <a:p>
          <a:r>
            <a:rPr lang="en-GB" dirty="0" err="1"/>
            <a:t>Activité</a:t>
          </a:r>
          <a:r>
            <a:rPr lang="en-GB" dirty="0"/>
            <a:t> Physique</a:t>
          </a:r>
        </a:p>
      </dgm:t>
    </dgm:pt>
    <dgm:pt modelId="{6AC969A3-CE6E-844B-8176-9A05107E1436}" type="parTrans" cxnId="{C391ED78-9816-634E-9D8F-C915D68B9A2D}">
      <dgm:prSet/>
      <dgm:spPr/>
      <dgm:t>
        <a:bodyPr/>
        <a:lstStyle/>
        <a:p>
          <a:endParaRPr lang="en-GB"/>
        </a:p>
      </dgm:t>
    </dgm:pt>
    <dgm:pt modelId="{300A440D-25D4-1F42-A971-CEC0AC77FF8A}" type="sibTrans" cxnId="{C391ED78-9816-634E-9D8F-C915D68B9A2D}">
      <dgm:prSet/>
      <dgm:spPr/>
      <dgm:t>
        <a:bodyPr/>
        <a:lstStyle/>
        <a:p>
          <a:endParaRPr lang="en-GB"/>
        </a:p>
      </dgm:t>
    </dgm:pt>
    <dgm:pt modelId="{F37ACA4F-5E93-0D4D-A149-BE938A2C3C08}">
      <dgm:prSet phldrT="[Text]"/>
      <dgm:spPr/>
      <dgm:t>
        <a:bodyPr/>
        <a:lstStyle/>
        <a:p>
          <a:r>
            <a:rPr lang="en-GB" dirty="0"/>
            <a:t>Nutrition</a:t>
          </a:r>
        </a:p>
      </dgm:t>
    </dgm:pt>
    <dgm:pt modelId="{4F0A086E-928E-FF4A-8DC4-D9BEB66C6473}" type="parTrans" cxnId="{8576D9AB-CAFD-1048-9122-0337A3093371}">
      <dgm:prSet/>
      <dgm:spPr/>
      <dgm:t>
        <a:bodyPr/>
        <a:lstStyle/>
        <a:p>
          <a:endParaRPr lang="en-GB"/>
        </a:p>
      </dgm:t>
    </dgm:pt>
    <dgm:pt modelId="{195851A9-83A7-0E40-AECD-5A139A6FC993}" type="sibTrans" cxnId="{8576D9AB-CAFD-1048-9122-0337A3093371}">
      <dgm:prSet/>
      <dgm:spPr/>
      <dgm:t>
        <a:bodyPr/>
        <a:lstStyle/>
        <a:p>
          <a:endParaRPr lang="en-GB"/>
        </a:p>
      </dgm:t>
    </dgm:pt>
    <dgm:pt modelId="{11F01F15-92E5-064E-93AC-337083E43BDC}" type="pres">
      <dgm:prSet presAssocID="{F6914A7B-D20C-4E41-B28C-F5A33A0CE0D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03529949-0AB5-1846-A007-13DB728B3D04}" type="pres">
      <dgm:prSet presAssocID="{5D8DAFC2-1478-9141-98D8-FCF6734DB2C4}" presName="gear1" presStyleLbl="node1" presStyleIdx="0" presStyleCnt="3">
        <dgm:presLayoutVars>
          <dgm:chMax val="1"/>
          <dgm:bulletEnabled val="1"/>
        </dgm:presLayoutVars>
      </dgm:prSet>
      <dgm:spPr/>
    </dgm:pt>
    <dgm:pt modelId="{FB3EAEB0-BAD8-DC45-B781-3F5A2C050C17}" type="pres">
      <dgm:prSet presAssocID="{5D8DAFC2-1478-9141-98D8-FCF6734DB2C4}" presName="gear1srcNode" presStyleLbl="node1" presStyleIdx="0" presStyleCnt="3"/>
      <dgm:spPr/>
    </dgm:pt>
    <dgm:pt modelId="{A86F9B68-0733-FB45-9B94-236E18A2853C}" type="pres">
      <dgm:prSet presAssocID="{5D8DAFC2-1478-9141-98D8-FCF6734DB2C4}" presName="gear1dstNode" presStyleLbl="node1" presStyleIdx="0" presStyleCnt="3"/>
      <dgm:spPr/>
    </dgm:pt>
    <dgm:pt modelId="{78493710-4A58-EE43-8B86-7E26E95201A0}" type="pres">
      <dgm:prSet presAssocID="{778D8671-5724-7D4F-87C3-E867BEB937DD}" presName="gear2" presStyleLbl="node1" presStyleIdx="1" presStyleCnt="3">
        <dgm:presLayoutVars>
          <dgm:chMax val="1"/>
          <dgm:bulletEnabled val="1"/>
        </dgm:presLayoutVars>
      </dgm:prSet>
      <dgm:spPr/>
    </dgm:pt>
    <dgm:pt modelId="{A20F85FA-921E-8942-B042-C364BBABCCE6}" type="pres">
      <dgm:prSet presAssocID="{778D8671-5724-7D4F-87C3-E867BEB937DD}" presName="gear2srcNode" presStyleLbl="node1" presStyleIdx="1" presStyleCnt="3"/>
      <dgm:spPr/>
    </dgm:pt>
    <dgm:pt modelId="{E8B2159C-F965-AB4B-B0CC-40DABE106D36}" type="pres">
      <dgm:prSet presAssocID="{778D8671-5724-7D4F-87C3-E867BEB937DD}" presName="gear2dstNode" presStyleLbl="node1" presStyleIdx="1" presStyleCnt="3"/>
      <dgm:spPr/>
    </dgm:pt>
    <dgm:pt modelId="{66C2F407-8C5D-FD4F-B122-6FDE8DCF77A7}" type="pres">
      <dgm:prSet presAssocID="{F37ACA4F-5E93-0D4D-A149-BE938A2C3C08}" presName="gear3" presStyleLbl="node1" presStyleIdx="2" presStyleCnt="3"/>
      <dgm:spPr/>
    </dgm:pt>
    <dgm:pt modelId="{96F00016-06F3-C840-AF06-69DB35180119}" type="pres">
      <dgm:prSet presAssocID="{F37ACA4F-5E93-0D4D-A149-BE938A2C3C08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2A74B8F3-9290-144B-85BF-1569680BEDC7}" type="pres">
      <dgm:prSet presAssocID="{F37ACA4F-5E93-0D4D-A149-BE938A2C3C08}" presName="gear3srcNode" presStyleLbl="node1" presStyleIdx="2" presStyleCnt="3"/>
      <dgm:spPr/>
    </dgm:pt>
    <dgm:pt modelId="{104F6080-941E-F44E-AB00-0C8B4CC4A47A}" type="pres">
      <dgm:prSet presAssocID="{F37ACA4F-5E93-0D4D-A149-BE938A2C3C08}" presName="gear3dstNode" presStyleLbl="node1" presStyleIdx="2" presStyleCnt="3"/>
      <dgm:spPr/>
    </dgm:pt>
    <dgm:pt modelId="{CFB149F8-01A0-424A-BADD-795A809392D7}" type="pres">
      <dgm:prSet presAssocID="{89939F4D-5B7D-CF49-BCB0-6A1BBE7352F3}" presName="connector1" presStyleLbl="sibTrans2D1" presStyleIdx="0" presStyleCnt="3"/>
      <dgm:spPr/>
    </dgm:pt>
    <dgm:pt modelId="{8EF20B0B-A415-3749-AACA-311314BF7981}" type="pres">
      <dgm:prSet presAssocID="{300A440D-25D4-1F42-A971-CEC0AC77FF8A}" presName="connector2" presStyleLbl="sibTrans2D1" presStyleIdx="1" presStyleCnt="3"/>
      <dgm:spPr/>
    </dgm:pt>
    <dgm:pt modelId="{FBA8BDB7-6933-C740-9A50-8BCD6D1E0085}" type="pres">
      <dgm:prSet presAssocID="{195851A9-83A7-0E40-AECD-5A139A6FC993}" presName="connector3" presStyleLbl="sibTrans2D1" presStyleIdx="2" presStyleCnt="3"/>
      <dgm:spPr/>
    </dgm:pt>
  </dgm:ptLst>
  <dgm:cxnLst>
    <dgm:cxn modelId="{B5438F0B-F398-CE4A-B83B-395F97BB7EC4}" type="presOf" srcId="{195851A9-83A7-0E40-AECD-5A139A6FC993}" destId="{FBA8BDB7-6933-C740-9A50-8BCD6D1E0085}" srcOrd="0" destOrd="0" presId="urn:microsoft.com/office/officeart/2005/8/layout/gear1"/>
    <dgm:cxn modelId="{EABBB112-F1FA-0443-99C0-A6A3D5025A90}" type="presOf" srcId="{300A440D-25D4-1F42-A971-CEC0AC77FF8A}" destId="{8EF20B0B-A415-3749-AACA-311314BF7981}" srcOrd="0" destOrd="0" presId="urn:microsoft.com/office/officeart/2005/8/layout/gear1"/>
    <dgm:cxn modelId="{3BD31E17-B7C4-9445-9D7D-4E19B0E21EE3}" type="presOf" srcId="{778D8671-5724-7D4F-87C3-E867BEB937DD}" destId="{A20F85FA-921E-8942-B042-C364BBABCCE6}" srcOrd="1" destOrd="0" presId="urn:microsoft.com/office/officeart/2005/8/layout/gear1"/>
    <dgm:cxn modelId="{0019CE1E-851E-E84E-A209-175DDC8707CC}" type="presOf" srcId="{5D8DAFC2-1478-9141-98D8-FCF6734DB2C4}" destId="{A86F9B68-0733-FB45-9B94-236E18A2853C}" srcOrd="2" destOrd="0" presId="urn:microsoft.com/office/officeart/2005/8/layout/gear1"/>
    <dgm:cxn modelId="{AAC4D639-F340-F949-A69D-32290EADD18B}" type="presOf" srcId="{778D8671-5724-7D4F-87C3-E867BEB937DD}" destId="{78493710-4A58-EE43-8B86-7E26E95201A0}" srcOrd="0" destOrd="0" presId="urn:microsoft.com/office/officeart/2005/8/layout/gear1"/>
    <dgm:cxn modelId="{560C935B-B729-B847-951C-AEC4F289B26C}" type="presOf" srcId="{F6914A7B-D20C-4E41-B28C-F5A33A0CE0DA}" destId="{11F01F15-92E5-064E-93AC-337083E43BDC}" srcOrd="0" destOrd="0" presId="urn:microsoft.com/office/officeart/2005/8/layout/gear1"/>
    <dgm:cxn modelId="{81BA0465-DF1F-0B47-B81F-6F8972624117}" type="presOf" srcId="{F37ACA4F-5E93-0D4D-A149-BE938A2C3C08}" destId="{104F6080-941E-F44E-AB00-0C8B4CC4A47A}" srcOrd="3" destOrd="0" presId="urn:microsoft.com/office/officeart/2005/8/layout/gear1"/>
    <dgm:cxn modelId="{C391ED78-9816-634E-9D8F-C915D68B9A2D}" srcId="{F6914A7B-D20C-4E41-B28C-F5A33A0CE0DA}" destId="{778D8671-5724-7D4F-87C3-E867BEB937DD}" srcOrd="1" destOrd="0" parTransId="{6AC969A3-CE6E-844B-8176-9A05107E1436}" sibTransId="{300A440D-25D4-1F42-A971-CEC0AC77FF8A}"/>
    <dgm:cxn modelId="{2465E27C-2520-1E45-9811-1A6947628367}" type="presOf" srcId="{F37ACA4F-5E93-0D4D-A149-BE938A2C3C08}" destId="{66C2F407-8C5D-FD4F-B122-6FDE8DCF77A7}" srcOrd="0" destOrd="0" presId="urn:microsoft.com/office/officeart/2005/8/layout/gear1"/>
    <dgm:cxn modelId="{909D3B82-AA32-3245-819C-0E14F17E54FF}" type="presOf" srcId="{5D8DAFC2-1478-9141-98D8-FCF6734DB2C4}" destId="{03529949-0AB5-1846-A007-13DB728B3D04}" srcOrd="0" destOrd="0" presId="urn:microsoft.com/office/officeart/2005/8/layout/gear1"/>
    <dgm:cxn modelId="{2BEF6C84-C0D1-5F4F-A53A-46C113CC9791}" type="presOf" srcId="{F37ACA4F-5E93-0D4D-A149-BE938A2C3C08}" destId="{96F00016-06F3-C840-AF06-69DB35180119}" srcOrd="1" destOrd="0" presId="urn:microsoft.com/office/officeart/2005/8/layout/gear1"/>
    <dgm:cxn modelId="{614C508A-7DEA-CB43-8575-54AC6762FCF3}" type="presOf" srcId="{5D8DAFC2-1478-9141-98D8-FCF6734DB2C4}" destId="{FB3EAEB0-BAD8-DC45-B781-3F5A2C050C17}" srcOrd="1" destOrd="0" presId="urn:microsoft.com/office/officeart/2005/8/layout/gear1"/>
    <dgm:cxn modelId="{3C78039A-8A8F-474A-8785-440C221B44B7}" srcId="{F6914A7B-D20C-4E41-B28C-F5A33A0CE0DA}" destId="{5D8DAFC2-1478-9141-98D8-FCF6734DB2C4}" srcOrd="0" destOrd="0" parTransId="{78D828C5-B486-D746-A1AF-17C35A49E744}" sibTransId="{89939F4D-5B7D-CF49-BCB0-6A1BBE7352F3}"/>
    <dgm:cxn modelId="{BEF0139C-23E4-0D48-98A6-8B7B8084F065}" type="presOf" srcId="{778D8671-5724-7D4F-87C3-E867BEB937DD}" destId="{E8B2159C-F965-AB4B-B0CC-40DABE106D36}" srcOrd="2" destOrd="0" presId="urn:microsoft.com/office/officeart/2005/8/layout/gear1"/>
    <dgm:cxn modelId="{8576D9AB-CAFD-1048-9122-0337A3093371}" srcId="{F6914A7B-D20C-4E41-B28C-F5A33A0CE0DA}" destId="{F37ACA4F-5E93-0D4D-A149-BE938A2C3C08}" srcOrd="2" destOrd="0" parTransId="{4F0A086E-928E-FF4A-8DC4-D9BEB66C6473}" sibTransId="{195851A9-83A7-0E40-AECD-5A139A6FC993}"/>
    <dgm:cxn modelId="{84B226C1-D20F-5E43-8227-42F9149FA581}" type="presOf" srcId="{89939F4D-5B7D-CF49-BCB0-6A1BBE7352F3}" destId="{CFB149F8-01A0-424A-BADD-795A809392D7}" srcOrd="0" destOrd="0" presId="urn:microsoft.com/office/officeart/2005/8/layout/gear1"/>
    <dgm:cxn modelId="{2F9904C5-64B7-B54A-8753-6F5529376814}" type="presOf" srcId="{F37ACA4F-5E93-0D4D-A149-BE938A2C3C08}" destId="{2A74B8F3-9290-144B-85BF-1569680BEDC7}" srcOrd="2" destOrd="0" presId="urn:microsoft.com/office/officeart/2005/8/layout/gear1"/>
    <dgm:cxn modelId="{DB3D7C65-E2B3-6642-BEAF-5930F135A4C7}" type="presParOf" srcId="{11F01F15-92E5-064E-93AC-337083E43BDC}" destId="{03529949-0AB5-1846-A007-13DB728B3D04}" srcOrd="0" destOrd="0" presId="urn:microsoft.com/office/officeart/2005/8/layout/gear1"/>
    <dgm:cxn modelId="{892172B1-0DAA-874F-8A72-0BD15017C702}" type="presParOf" srcId="{11F01F15-92E5-064E-93AC-337083E43BDC}" destId="{FB3EAEB0-BAD8-DC45-B781-3F5A2C050C17}" srcOrd="1" destOrd="0" presId="urn:microsoft.com/office/officeart/2005/8/layout/gear1"/>
    <dgm:cxn modelId="{1285FA31-3F6A-D046-819A-E32E4F18FA15}" type="presParOf" srcId="{11F01F15-92E5-064E-93AC-337083E43BDC}" destId="{A86F9B68-0733-FB45-9B94-236E18A2853C}" srcOrd="2" destOrd="0" presId="urn:microsoft.com/office/officeart/2005/8/layout/gear1"/>
    <dgm:cxn modelId="{2712380E-9D85-4943-8CF4-07DDA0AEC110}" type="presParOf" srcId="{11F01F15-92E5-064E-93AC-337083E43BDC}" destId="{78493710-4A58-EE43-8B86-7E26E95201A0}" srcOrd="3" destOrd="0" presId="urn:microsoft.com/office/officeart/2005/8/layout/gear1"/>
    <dgm:cxn modelId="{B04469E0-23B1-9048-88CB-366E24E794F7}" type="presParOf" srcId="{11F01F15-92E5-064E-93AC-337083E43BDC}" destId="{A20F85FA-921E-8942-B042-C364BBABCCE6}" srcOrd="4" destOrd="0" presId="urn:microsoft.com/office/officeart/2005/8/layout/gear1"/>
    <dgm:cxn modelId="{CA9FCA9F-323C-B74B-B47B-99F4791827F9}" type="presParOf" srcId="{11F01F15-92E5-064E-93AC-337083E43BDC}" destId="{E8B2159C-F965-AB4B-B0CC-40DABE106D36}" srcOrd="5" destOrd="0" presId="urn:microsoft.com/office/officeart/2005/8/layout/gear1"/>
    <dgm:cxn modelId="{CDEE8E52-0D82-074E-A656-B96120E0E2E5}" type="presParOf" srcId="{11F01F15-92E5-064E-93AC-337083E43BDC}" destId="{66C2F407-8C5D-FD4F-B122-6FDE8DCF77A7}" srcOrd="6" destOrd="0" presId="urn:microsoft.com/office/officeart/2005/8/layout/gear1"/>
    <dgm:cxn modelId="{B87C237A-8711-6741-B503-AE296677E665}" type="presParOf" srcId="{11F01F15-92E5-064E-93AC-337083E43BDC}" destId="{96F00016-06F3-C840-AF06-69DB35180119}" srcOrd="7" destOrd="0" presId="urn:microsoft.com/office/officeart/2005/8/layout/gear1"/>
    <dgm:cxn modelId="{7B1DE140-C990-9342-AD71-963B6BDB439E}" type="presParOf" srcId="{11F01F15-92E5-064E-93AC-337083E43BDC}" destId="{2A74B8F3-9290-144B-85BF-1569680BEDC7}" srcOrd="8" destOrd="0" presId="urn:microsoft.com/office/officeart/2005/8/layout/gear1"/>
    <dgm:cxn modelId="{1A115DA4-C8E4-164A-9F32-0594F5907095}" type="presParOf" srcId="{11F01F15-92E5-064E-93AC-337083E43BDC}" destId="{104F6080-941E-F44E-AB00-0C8B4CC4A47A}" srcOrd="9" destOrd="0" presId="urn:microsoft.com/office/officeart/2005/8/layout/gear1"/>
    <dgm:cxn modelId="{F85D3963-59BC-0E43-875C-4FBB15CB37FF}" type="presParOf" srcId="{11F01F15-92E5-064E-93AC-337083E43BDC}" destId="{CFB149F8-01A0-424A-BADD-795A809392D7}" srcOrd="10" destOrd="0" presId="urn:microsoft.com/office/officeart/2005/8/layout/gear1"/>
    <dgm:cxn modelId="{04CC4A7A-100F-0044-A804-9429F40A10A6}" type="presParOf" srcId="{11F01F15-92E5-064E-93AC-337083E43BDC}" destId="{8EF20B0B-A415-3749-AACA-311314BF7981}" srcOrd="11" destOrd="0" presId="urn:microsoft.com/office/officeart/2005/8/layout/gear1"/>
    <dgm:cxn modelId="{70DDE32C-0A86-3249-9F52-D7C2B4C49AE6}" type="presParOf" srcId="{11F01F15-92E5-064E-93AC-337083E43BDC}" destId="{FBA8BDB7-6933-C740-9A50-8BCD6D1E0085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A5F5DA7-5120-4BF5-8F55-0CC45AE9EB04}" type="doc">
      <dgm:prSet loTypeId="urn:microsoft.com/office/officeart/2005/8/layout/default" loCatId="list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D9D0B550-3C14-41B5-B238-55B06FAF91C3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Amélioration</a:t>
          </a:r>
          <a:r>
            <a:rPr lang="en-US" b="0" dirty="0">
              <a:solidFill>
                <a:schemeClr val="tx1"/>
              </a:solidFill>
            </a:rPr>
            <a:t> de la </a:t>
          </a:r>
          <a:r>
            <a:rPr lang="en-US" b="0" dirty="0" err="1">
              <a:solidFill>
                <a:schemeClr val="tx1"/>
              </a:solidFill>
            </a:rPr>
            <a:t>santé</a:t>
          </a:r>
          <a:endParaRPr lang="en-US" b="0" dirty="0">
            <a:solidFill>
              <a:schemeClr val="tx1"/>
            </a:solidFill>
          </a:endParaRPr>
        </a:p>
      </dgm:t>
    </dgm:pt>
    <dgm:pt modelId="{C86772FC-4AD6-4BBA-ABB0-8A19BA356E57}" type="parTrans" cxnId="{4A7FFFF5-2B8A-4011-9924-70931696EF2B}">
      <dgm:prSet/>
      <dgm:spPr/>
      <dgm:t>
        <a:bodyPr/>
        <a:lstStyle/>
        <a:p>
          <a:endParaRPr lang="en-US"/>
        </a:p>
      </dgm:t>
    </dgm:pt>
    <dgm:pt modelId="{1C591D79-EC67-40E6-8AB4-1E1BD0C267B3}" type="sibTrans" cxnId="{4A7FFFF5-2B8A-4011-9924-70931696EF2B}">
      <dgm:prSet/>
      <dgm:spPr/>
      <dgm:t>
        <a:bodyPr/>
        <a:lstStyle/>
        <a:p>
          <a:endParaRPr lang="en-US"/>
        </a:p>
      </dgm:t>
    </dgm:pt>
    <dgm:pt modelId="{2CA99409-F0EA-4619-8AD4-5957CB90224C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Moins</a:t>
          </a:r>
          <a:r>
            <a:rPr lang="en-US" b="0" dirty="0">
              <a:solidFill>
                <a:schemeClr val="tx1"/>
              </a:solidFill>
            </a:rPr>
            <a:t> de </a:t>
          </a:r>
          <a:r>
            <a:rPr lang="en-US" b="0" dirty="0" err="1">
              <a:solidFill>
                <a:schemeClr val="tx1"/>
              </a:solidFill>
            </a:rPr>
            <a:t>sauts</a:t>
          </a:r>
          <a:r>
            <a:rPr lang="en-US" b="0" dirty="0">
              <a:solidFill>
                <a:schemeClr val="tx1"/>
              </a:solidFill>
            </a:rPr>
            <a:t> de </a:t>
          </a:r>
          <a:r>
            <a:rPr lang="en-US" b="0" dirty="0" err="1">
              <a:solidFill>
                <a:schemeClr val="tx1"/>
              </a:solidFill>
            </a:rPr>
            <a:t>repas</a:t>
          </a:r>
          <a:endParaRPr lang="en-US" b="0" dirty="0">
            <a:solidFill>
              <a:schemeClr val="tx1"/>
            </a:solidFill>
          </a:endParaRPr>
        </a:p>
      </dgm:t>
    </dgm:pt>
    <dgm:pt modelId="{A46D3DE2-4477-478B-8F28-BBB6446D8E57}" type="parTrans" cxnId="{4D5B316A-16F2-4CA9-835B-CF388F33722D}">
      <dgm:prSet/>
      <dgm:spPr/>
      <dgm:t>
        <a:bodyPr/>
        <a:lstStyle/>
        <a:p>
          <a:endParaRPr lang="en-US"/>
        </a:p>
      </dgm:t>
    </dgm:pt>
    <dgm:pt modelId="{8BE25754-4CA0-4482-8CA4-57BEF407BC5B}" type="sibTrans" cxnId="{4D5B316A-16F2-4CA9-835B-CF388F33722D}">
      <dgm:prSet/>
      <dgm:spPr/>
      <dgm:t>
        <a:bodyPr/>
        <a:lstStyle/>
        <a:p>
          <a:endParaRPr lang="en-US"/>
        </a:p>
      </dgm:t>
    </dgm:pt>
    <dgm:pt modelId="{7F104076-60AF-4349-9D7E-535BFFF44528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Réduction</a:t>
          </a:r>
          <a:r>
            <a:rPr lang="en-US" b="0" dirty="0">
              <a:solidFill>
                <a:schemeClr val="tx1"/>
              </a:solidFill>
            </a:rPr>
            <a:t> de la </a:t>
          </a:r>
          <a:r>
            <a:rPr lang="en-US" b="0" dirty="0" err="1">
              <a:solidFill>
                <a:schemeClr val="tx1"/>
              </a:solidFill>
            </a:rPr>
            <a:t>caféine</a:t>
          </a:r>
          <a:endParaRPr lang="en-US" b="0" dirty="0">
            <a:solidFill>
              <a:schemeClr val="tx1"/>
            </a:solidFill>
          </a:endParaRPr>
        </a:p>
      </dgm:t>
    </dgm:pt>
    <dgm:pt modelId="{553CAB00-0CFD-4739-BD8E-829090D8B5CD}" type="parTrans" cxnId="{1F393373-D7E6-4F3F-A101-36B91BE9D6B7}">
      <dgm:prSet/>
      <dgm:spPr/>
      <dgm:t>
        <a:bodyPr/>
        <a:lstStyle/>
        <a:p>
          <a:endParaRPr lang="en-US"/>
        </a:p>
      </dgm:t>
    </dgm:pt>
    <dgm:pt modelId="{3274378A-BF76-4C6B-A9AD-BC28BC893EAC}" type="sibTrans" cxnId="{1F393373-D7E6-4F3F-A101-36B91BE9D6B7}">
      <dgm:prSet/>
      <dgm:spPr/>
      <dgm:t>
        <a:bodyPr/>
        <a:lstStyle/>
        <a:p>
          <a:endParaRPr lang="en-US"/>
        </a:p>
      </dgm:t>
    </dgm:pt>
    <dgm:pt modelId="{58447FAF-EB43-46FF-A397-F0807DD23895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Moins</a:t>
          </a:r>
          <a:r>
            <a:rPr lang="en-US" b="0" dirty="0">
              <a:solidFill>
                <a:schemeClr val="tx1"/>
              </a:solidFill>
            </a:rPr>
            <a:t> de solutions </a:t>
          </a:r>
          <a:r>
            <a:rPr lang="en-US" b="0" dirty="0" err="1">
              <a:solidFill>
                <a:schemeClr val="tx1"/>
              </a:solidFill>
            </a:rPr>
            <a:t>rapides</a:t>
          </a:r>
          <a:r>
            <a:rPr lang="en-US" b="0" dirty="0">
              <a:solidFill>
                <a:schemeClr val="tx1"/>
              </a:solidFill>
            </a:rPr>
            <a:t> </a:t>
          </a:r>
          <a:r>
            <a:rPr lang="en-US" b="0" dirty="0" err="1">
              <a:solidFill>
                <a:schemeClr val="tx1"/>
              </a:solidFill>
            </a:rPr>
            <a:t>ou</a:t>
          </a:r>
          <a:r>
            <a:rPr lang="en-US" b="0" dirty="0">
              <a:solidFill>
                <a:schemeClr val="tx1"/>
              </a:solidFill>
            </a:rPr>
            <a:t> de régimes </a:t>
          </a:r>
          <a:r>
            <a:rPr lang="en-US" b="0" dirty="0" err="1">
              <a:solidFill>
                <a:schemeClr val="tx1"/>
              </a:solidFill>
            </a:rPr>
            <a:t>à</a:t>
          </a:r>
          <a:r>
            <a:rPr lang="en-US" b="0" dirty="0">
              <a:solidFill>
                <a:schemeClr val="tx1"/>
              </a:solidFill>
            </a:rPr>
            <a:t> la mode (yoyo)</a:t>
          </a:r>
        </a:p>
      </dgm:t>
    </dgm:pt>
    <dgm:pt modelId="{2401DFBE-7DFF-4E44-A24B-9D529271CDD0}" type="parTrans" cxnId="{CACB7B2B-5AA4-443A-9FC9-5F608404B934}">
      <dgm:prSet/>
      <dgm:spPr/>
      <dgm:t>
        <a:bodyPr/>
        <a:lstStyle/>
        <a:p>
          <a:endParaRPr lang="en-US"/>
        </a:p>
      </dgm:t>
    </dgm:pt>
    <dgm:pt modelId="{AF8082F6-3AEA-4CB5-BB4B-78B57287746F}" type="sibTrans" cxnId="{CACB7B2B-5AA4-443A-9FC9-5F608404B934}">
      <dgm:prSet/>
      <dgm:spPr/>
      <dgm:t>
        <a:bodyPr/>
        <a:lstStyle/>
        <a:p>
          <a:endParaRPr lang="en-US"/>
        </a:p>
      </dgm:t>
    </dgm:pt>
    <dgm:pt modelId="{FF0D2C66-0CDC-4F37-96F0-6A1B6ADB74E2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Moins</a:t>
          </a:r>
          <a:r>
            <a:rPr lang="en-US" b="0" dirty="0">
              <a:solidFill>
                <a:schemeClr val="tx1"/>
              </a:solidFill>
            </a:rPr>
            <a:t> de </a:t>
          </a:r>
          <a:r>
            <a:rPr lang="en-US" b="0" dirty="0" err="1">
              <a:solidFill>
                <a:schemeClr val="tx1"/>
              </a:solidFill>
            </a:rPr>
            <a:t>grignotage</a:t>
          </a:r>
          <a:endParaRPr lang="en-US" b="0" dirty="0">
            <a:solidFill>
              <a:schemeClr val="tx1"/>
            </a:solidFill>
          </a:endParaRPr>
        </a:p>
      </dgm:t>
    </dgm:pt>
    <dgm:pt modelId="{DB8D8FD0-E6B6-4E04-82A7-C51F450E9CD8}" type="parTrans" cxnId="{EDB75F24-E632-4C69-B121-66E3E5C4A7F0}">
      <dgm:prSet/>
      <dgm:spPr/>
      <dgm:t>
        <a:bodyPr/>
        <a:lstStyle/>
        <a:p>
          <a:endParaRPr lang="en-US"/>
        </a:p>
      </dgm:t>
    </dgm:pt>
    <dgm:pt modelId="{142FB636-3AB0-4C5F-B2FB-3D97EA4F57F6}" type="sibTrans" cxnId="{EDB75F24-E632-4C69-B121-66E3E5C4A7F0}">
      <dgm:prSet/>
      <dgm:spPr/>
      <dgm:t>
        <a:bodyPr/>
        <a:lstStyle/>
        <a:p>
          <a:endParaRPr lang="en-US"/>
        </a:p>
      </dgm:t>
    </dgm:pt>
    <dgm:pt modelId="{9DDBC597-F381-6F49-936B-7C424488F514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Amélioration</a:t>
          </a:r>
          <a:r>
            <a:rPr lang="en-US" b="0" dirty="0">
              <a:solidFill>
                <a:schemeClr val="tx1"/>
              </a:solidFill>
            </a:rPr>
            <a:t> du </a:t>
          </a:r>
          <a:r>
            <a:rPr lang="en-US" b="0" dirty="0" err="1">
              <a:solidFill>
                <a:schemeClr val="tx1"/>
              </a:solidFill>
            </a:rPr>
            <a:t>sommeil</a:t>
          </a:r>
          <a:endParaRPr lang="en-US" b="0" dirty="0">
            <a:solidFill>
              <a:schemeClr val="tx1"/>
            </a:solidFill>
          </a:endParaRPr>
        </a:p>
      </dgm:t>
    </dgm:pt>
    <dgm:pt modelId="{8C0985AE-0445-CF4C-AF7D-DE740ED4D23A}" type="parTrans" cxnId="{4FF93563-9805-BB43-99CC-A54EC25D25CC}">
      <dgm:prSet/>
      <dgm:spPr/>
      <dgm:t>
        <a:bodyPr/>
        <a:lstStyle/>
        <a:p>
          <a:endParaRPr lang="en-GB"/>
        </a:p>
      </dgm:t>
    </dgm:pt>
    <dgm:pt modelId="{272FF4AC-8545-034A-89AD-139323995CCD}" type="sibTrans" cxnId="{4FF93563-9805-BB43-99CC-A54EC25D25CC}">
      <dgm:prSet/>
      <dgm:spPr/>
      <dgm:t>
        <a:bodyPr/>
        <a:lstStyle/>
        <a:p>
          <a:endParaRPr lang="en-GB"/>
        </a:p>
      </dgm:t>
    </dgm:pt>
    <dgm:pt modelId="{056E6E84-221A-944F-BE8E-99E061446F12}">
      <dgm:prSet/>
      <dgm:spPr/>
      <dgm:t>
        <a:bodyPr/>
        <a:lstStyle/>
        <a:p>
          <a:r>
            <a:rPr lang="fr-CH" b="0" dirty="0">
              <a:solidFill>
                <a:schemeClr val="tx1"/>
              </a:solidFill>
            </a:rPr>
            <a:t>Meilleure estime de soi</a:t>
          </a:r>
          <a:endParaRPr lang="en-US" b="0" dirty="0">
            <a:solidFill>
              <a:schemeClr val="tx1"/>
            </a:solidFill>
          </a:endParaRPr>
        </a:p>
      </dgm:t>
    </dgm:pt>
    <dgm:pt modelId="{15268B47-A009-8D42-9A46-BBDC65535E2B}" type="parTrans" cxnId="{E17EFD39-CD41-D541-80F2-0EC364872527}">
      <dgm:prSet/>
      <dgm:spPr/>
      <dgm:t>
        <a:bodyPr/>
        <a:lstStyle/>
        <a:p>
          <a:endParaRPr lang="en-GB"/>
        </a:p>
      </dgm:t>
    </dgm:pt>
    <dgm:pt modelId="{F011A178-9679-A64A-9F6F-AB61AB5DBDC6}" type="sibTrans" cxnId="{E17EFD39-CD41-D541-80F2-0EC364872527}">
      <dgm:prSet/>
      <dgm:spPr/>
      <dgm:t>
        <a:bodyPr/>
        <a:lstStyle/>
        <a:p>
          <a:endParaRPr lang="en-GB"/>
        </a:p>
      </dgm:t>
    </dgm:pt>
    <dgm:pt modelId="{7029507F-1850-F348-A6A4-9AD3D1C6772F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Moins</a:t>
          </a:r>
          <a:r>
            <a:rPr lang="en-US" b="0" dirty="0">
              <a:solidFill>
                <a:schemeClr val="tx1"/>
              </a:solidFill>
            </a:rPr>
            <a:t> de restauration </a:t>
          </a:r>
          <a:r>
            <a:rPr lang="en-US" b="0" dirty="0" err="1">
              <a:solidFill>
                <a:schemeClr val="tx1"/>
              </a:solidFill>
            </a:rPr>
            <a:t>rapide</a:t>
          </a:r>
          <a:endParaRPr lang="en-US" b="0" dirty="0">
            <a:solidFill>
              <a:schemeClr val="tx1"/>
            </a:solidFill>
          </a:endParaRPr>
        </a:p>
      </dgm:t>
    </dgm:pt>
    <dgm:pt modelId="{032BD5E2-EF59-BF41-B482-93DBB030C718}" type="parTrans" cxnId="{460E72EF-E9B9-C742-A2C5-53AF1C366249}">
      <dgm:prSet/>
      <dgm:spPr/>
      <dgm:t>
        <a:bodyPr/>
        <a:lstStyle/>
        <a:p>
          <a:endParaRPr lang="en-GB"/>
        </a:p>
      </dgm:t>
    </dgm:pt>
    <dgm:pt modelId="{65831D22-BFB3-464F-8CDF-70022020440D}" type="sibTrans" cxnId="{460E72EF-E9B9-C742-A2C5-53AF1C366249}">
      <dgm:prSet/>
      <dgm:spPr/>
      <dgm:t>
        <a:bodyPr/>
        <a:lstStyle/>
        <a:p>
          <a:endParaRPr lang="en-GB"/>
        </a:p>
      </dgm:t>
    </dgm:pt>
    <dgm:pt modelId="{DEFB2F0F-8318-2148-943F-E0FE38D99ADF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Moins</a:t>
          </a:r>
          <a:r>
            <a:rPr lang="en-US" b="0" dirty="0">
              <a:solidFill>
                <a:schemeClr val="tx1"/>
              </a:solidFill>
            </a:rPr>
            <a:t> de </a:t>
          </a:r>
          <a:r>
            <a:rPr lang="en-US" b="0" dirty="0" err="1">
              <a:solidFill>
                <a:schemeClr val="tx1"/>
              </a:solidFill>
            </a:rPr>
            <a:t>surpoids</a:t>
          </a:r>
          <a:r>
            <a:rPr lang="en-US" b="0" dirty="0">
              <a:solidFill>
                <a:schemeClr val="tx1"/>
              </a:solidFill>
            </a:rPr>
            <a:t> et </a:t>
          </a:r>
          <a:r>
            <a:rPr lang="en-US" b="0" dirty="0" err="1">
              <a:solidFill>
                <a:schemeClr val="tx1"/>
              </a:solidFill>
            </a:rPr>
            <a:t>d’obésité</a:t>
          </a:r>
          <a:endParaRPr lang="en-US" b="0" dirty="0">
            <a:solidFill>
              <a:schemeClr val="tx1"/>
            </a:solidFill>
          </a:endParaRPr>
        </a:p>
      </dgm:t>
    </dgm:pt>
    <dgm:pt modelId="{C9DA691E-EB36-A348-8ADA-CE2BADDB7330}" type="parTrans" cxnId="{4139CB18-4A16-854C-814B-5C4327803149}">
      <dgm:prSet/>
      <dgm:spPr/>
      <dgm:t>
        <a:bodyPr/>
        <a:lstStyle/>
        <a:p>
          <a:endParaRPr lang="en-GB"/>
        </a:p>
      </dgm:t>
    </dgm:pt>
    <dgm:pt modelId="{979061E2-AF27-224F-B573-3E196A9FA9D8}" type="sibTrans" cxnId="{4139CB18-4A16-854C-814B-5C4327803149}">
      <dgm:prSet/>
      <dgm:spPr/>
      <dgm:t>
        <a:bodyPr/>
        <a:lstStyle/>
        <a:p>
          <a:endParaRPr lang="en-GB"/>
        </a:p>
      </dgm:t>
    </dgm:pt>
    <dgm:pt modelId="{B81F2DE1-2A18-9249-BE3D-B5435427A40B}">
      <dgm:prSet/>
      <dgm:spPr/>
      <dgm:t>
        <a:bodyPr/>
        <a:lstStyle/>
        <a:p>
          <a:r>
            <a:rPr lang="en-US" b="0" dirty="0">
              <a:solidFill>
                <a:schemeClr val="tx1"/>
              </a:solidFill>
            </a:rPr>
            <a:t>Plus </a:t>
          </a:r>
          <a:r>
            <a:rPr lang="en-US" b="0" dirty="0" err="1">
              <a:solidFill>
                <a:schemeClr val="tx1"/>
              </a:solidFill>
            </a:rPr>
            <a:t>d’énergie</a:t>
          </a:r>
          <a:r>
            <a:rPr lang="en-US" b="0" dirty="0">
              <a:solidFill>
                <a:schemeClr val="tx1"/>
              </a:solidFill>
            </a:rPr>
            <a:t> pour faire de </a:t>
          </a:r>
          <a:r>
            <a:rPr lang="en-US" b="0" dirty="0" err="1">
              <a:solidFill>
                <a:schemeClr val="tx1"/>
              </a:solidFill>
            </a:rPr>
            <a:t>l’activité</a:t>
          </a:r>
          <a:r>
            <a:rPr lang="en-US" b="0" dirty="0">
              <a:solidFill>
                <a:schemeClr val="tx1"/>
              </a:solidFill>
            </a:rPr>
            <a:t> physique</a:t>
          </a:r>
        </a:p>
      </dgm:t>
    </dgm:pt>
    <dgm:pt modelId="{8D2F11A7-147C-104D-86E6-47AFFE6B7B9C}" type="parTrans" cxnId="{774F6B20-172B-5B4F-9215-A65EEE78FC5E}">
      <dgm:prSet/>
      <dgm:spPr/>
      <dgm:t>
        <a:bodyPr/>
        <a:lstStyle/>
        <a:p>
          <a:endParaRPr lang="en-GB"/>
        </a:p>
      </dgm:t>
    </dgm:pt>
    <dgm:pt modelId="{B504A903-54EF-404A-B9B7-445126C39873}" type="sibTrans" cxnId="{774F6B20-172B-5B4F-9215-A65EEE78FC5E}">
      <dgm:prSet/>
      <dgm:spPr/>
      <dgm:t>
        <a:bodyPr/>
        <a:lstStyle/>
        <a:p>
          <a:endParaRPr lang="en-GB"/>
        </a:p>
      </dgm:t>
    </dgm:pt>
    <dgm:pt modelId="{DCF39788-07F4-114D-ADF5-FEF891303C34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Amélioration</a:t>
          </a:r>
          <a:r>
            <a:rPr lang="en-US" b="0" dirty="0">
              <a:solidFill>
                <a:schemeClr val="tx1"/>
              </a:solidFill>
            </a:rPr>
            <a:t> de </a:t>
          </a:r>
          <a:r>
            <a:rPr lang="en-US" b="0" dirty="0" err="1">
              <a:solidFill>
                <a:schemeClr val="tx1"/>
              </a:solidFill>
            </a:rPr>
            <a:t>l’humeur</a:t>
          </a:r>
          <a:endParaRPr lang="en-US" b="0" dirty="0">
            <a:solidFill>
              <a:schemeClr val="tx1"/>
            </a:solidFill>
          </a:endParaRPr>
        </a:p>
      </dgm:t>
    </dgm:pt>
    <dgm:pt modelId="{FE65FE18-33F1-C64B-A49A-745D93B7538C}" type="parTrans" cxnId="{22CC0C59-2159-B349-AF57-65AFD70C26FD}">
      <dgm:prSet/>
      <dgm:spPr/>
      <dgm:t>
        <a:bodyPr/>
        <a:lstStyle/>
        <a:p>
          <a:endParaRPr lang="en-GB"/>
        </a:p>
      </dgm:t>
    </dgm:pt>
    <dgm:pt modelId="{F482D8EA-482C-8241-BB66-2BE9CECED018}" type="sibTrans" cxnId="{22CC0C59-2159-B349-AF57-65AFD70C26FD}">
      <dgm:prSet/>
      <dgm:spPr/>
      <dgm:t>
        <a:bodyPr/>
        <a:lstStyle/>
        <a:p>
          <a:endParaRPr lang="en-GB"/>
        </a:p>
      </dgm:t>
    </dgm:pt>
    <dgm:pt modelId="{0750F04F-4C6C-DE4D-8616-E394FB074127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Productivité</a:t>
          </a:r>
          <a:r>
            <a:rPr lang="en-US" b="0" dirty="0">
              <a:solidFill>
                <a:schemeClr val="tx1"/>
              </a:solidFill>
            </a:rPr>
            <a:t> au travail</a:t>
          </a:r>
        </a:p>
      </dgm:t>
    </dgm:pt>
    <dgm:pt modelId="{78ED3D67-86BB-CF4F-97C2-32B5E9B83513}" type="parTrans" cxnId="{73E86397-25B6-3D4D-8E94-71394091707D}">
      <dgm:prSet/>
      <dgm:spPr/>
    </dgm:pt>
    <dgm:pt modelId="{56541F6C-578B-D64C-A640-75EE0DFC4E37}" type="sibTrans" cxnId="{73E86397-25B6-3D4D-8E94-71394091707D}">
      <dgm:prSet/>
      <dgm:spPr/>
    </dgm:pt>
    <dgm:pt modelId="{D70720BF-0A1C-7449-B3DF-6D6680E6F78B}" type="pres">
      <dgm:prSet presAssocID="{FA5F5DA7-5120-4BF5-8F55-0CC45AE9EB04}" presName="diagram" presStyleCnt="0">
        <dgm:presLayoutVars>
          <dgm:dir/>
          <dgm:resizeHandles val="exact"/>
        </dgm:presLayoutVars>
      </dgm:prSet>
      <dgm:spPr/>
    </dgm:pt>
    <dgm:pt modelId="{3E8CAB2C-8657-AD4D-A757-2BDFF328BC1D}" type="pres">
      <dgm:prSet presAssocID="{D9D0B550-3C14-41B5-B238-55B06FAF91C3}" presName="node" presStyleLbl="node1" presStyleIdx="0" presStyleCnt="12">
        <dgm:presLayoutVars>
          <dgm:bulletEnabled val="1"/>
        </dgm:presLayoutVars>
      </dgm:prSet>
      <dgm:spPr/>
    </dgm:pt>
    <dgm:pt modelId="{CAAD1741-3E97-C745-84FE-6370695CC5C8}" type="pres">
      <dgm:prSet presAssocID="{1C591D79-EC67-40E6-8AB4-1E1BD0C267B3}" presName="sibTrans" presStyleCnt="0"/>
      <dgm:spPr/>
    </dgm:pt>
    <dgm:pt modelId="{437F2BA5-4910-B744-B454-058DB5E3062C}" type="pres">
      <dgm:prSet presAssocID="{DCF39788-07F4-114D-ADF5-FEF891303C34}" presName="node" presStyleLbl="node1" presStyleIdx="1" presStyleCnt="12">
        <dgm:presLayoutVars>
          <dgm:bulletEnabled val="1"/>
        </dgm:presLayoutVars>
      </dgm:prSet>
      <dgm:spPr/>
    </dgm:pt>
    <dgm:pt modelId="{1027C365-90CE-EE46-A10C-BAE62D1A715B}" type="pres">
      <dgm:prSet presAssocID="{F482D8EA-482C-8241-BB66-2BE9CECED018}" presName="sibTrans" presStyleCnt="0"/>
      <dgm:spPr/>
    </dgm:pt>
    <dgm:pt modelId="{D7F33E9E-72F0-974A-A68C-A0E67C2D2777}" type="pres">
      <dgm:prSet presAssocID="{9DDBC597-F381-6F49-936B-7C424488F514}" presName="node" presStyleLbl="node1" presStyleIdx="2" presStyleCnt="12">
        <dgm:presLayoutVars>
          <dgm:bulletEnabled val="1"/>
        </dgm:presLayoutVars>
      </dgm:prSet>
      <dgm:spPr/>
    </dgm:pt>
    <dgm:pt modelId="{F6214C0B-AB8F-664D-9F5F-9F552D3C1FA5}" type="pres">
      <dgm:prSet presAssocID="{272FF4AC-8545-034A-89AD-139323995CCD}" presName="sibTrans" presStyleCnt="0"/>
      <dgm:spPr/>
    </dgm:pt>
    <dgm:pt modelId="{6310A96B-2BFE-214E-B2B0-13FA19AEA0BE}" type="pres">
      <dgm:prSet presAssocID="{0750F04F-4C6C-DE4D-8616-E394FB074127}" presName="node" presStyleLbl="node1" presStyleIdx="3" presStyleCnt="12">
        <dgm:presLayoutVars>
          <dgm:bulletEnabled val="1"/>
        </dgm:presLayoutVars>
      </dgm:prSet>
      <dgm:spPr/>
    </dgm:pt>
    <dgm:pt modelId="{CE20B538-91D3-DD48-9E48-5DE90546391E}" type="pres">
      <dgm:prSet presAssocID="{56541F6C-578B-D64C-A640-75EE0DFC4E37}" presName="sibTrans" presStyleCnt="0"/>
      <dgm:spPr/>
    </dgm:pt>
    <dgm:pt modelId="{1EF5EF61-7AAB-704A-B0FA-9B1862BFC0AF}" type="pres">
      <dgm:prSet presAssocID="{056E6E84-221A-944F-BE8E-99E061446F12}" presName="node" presStyleLbl="node1" presStyleIdx="4" presStyleCnt="12">
        <dgm:presLayoutVars>
          <dgm:bulletEnabled val="1"/>
        </dgm:presLayoutVars>
      </dgm:prSet>
      <dgm:spPr/>
    </dgm:pt>
    <dgm:pt modelId="{DAFCE1CF-6A0B-054D-958F-006560651CB8}" type="pres">
      <dgm:prSet presAssocID="{F011A178-9679-A64A-9F6F-AB61AB5DBDC6}" presName="sibTrans" presStyleCnt="0"/>
      <dgm:spPr/>
    </dgm:pt>
    <dgm:pt modelId="{57BAA123-FD63-E04C-86DB-7D5DD6DD1A81}" type="pres">
      <dgm:prSet presAssocID="{DEFB2F0F-8318-2148-943F-E0FE38D99ADF}" presName="node" presStyleLbl="node1" presStyleIdx="5" presStyleCnt="12">
        <dgm:presLayoutVars>
          <dgm:bulletEnabled val="1"/>
        </dgm:presLayoutVars>
      </dgm:prSet>
      <dgm:spPr/>
    </dgm:pt>
    <dgm:pt modelId="{2379D95E-DBDF-624C-AE1B-560FA442A71C}" type="pres">
      <dgm:prSet presAssocID="{979061E2-AF27-224F-B573-3E196A9FA9D8}" presName="sibTrans" presStyleCnt="0"/>
      <dgm:spPr/>
    </dgm:pt>
    <dgm:pt modelId="{88089AAB-B8C2-7D4E-84B7-26080A3527FC}" type="pres">
      <dgm:prSet presAssocID="{B81F2DE1-2A18-9249-BE3D-B5435427A40B}" presName="node" presStyleLbl="node1" presStyleIdx="6" presStyleCnt="12">
        <dgm:presLayoutVars>
          <dgm:bulletEnabled val="1"/>
        </dgm:presLayoutVars>
      </dgm:prSet>
      <dgm:spPr/>
    </dgm:pt>
    <dgm:pt modelId="{20FFF250-68DA-E04A-874C-38AD5699CFC6}" type="pres">
      <dgm:prSet presAssocID="{B504A903-54EF-404A-B9B7-445126C39873}" presName="sibTrans" presStyleCnt="0"/>
      <dgm:spPr/>
    </dgm:pt>
    <dgm:pt modelId="{96BEF0CC-4718-6444-8FB5-A9CE161C6FF3}" type="pres">
      <dgm:prSet presAssocID="{7029507F-1850-F348-A6A4-9AD3D1C6772F}" presName="node" presStyleLbl="node1" presStyleIdx="7" presStyleCnt="12">
        <dgm:presLayoutVars>
          <dgm:bulletEnabled val="1"/>
        </dgm:presLayoutVars>
      </dgm:prSet>
      <dgm:spPr/>
    </dgm:pt>
    <dgm:pt modelId="{571DA9C8-4E2B-BA4B-A9B1-1A3655FB7A77}" type="pres">
      <dgm:prSet presAssocID="{65831D22-BFB3-464F-8CDF-70022020440D}" presName="sibTrans" presStyleCnt="0"/>
      <dgm:spPr/>
    </dgm:pt>
    <dgm:pt modelId="{1F90E05F-BDB7-894F-BE82-AD31FF4B67A3}" type="pres">
      <dgm:prSet presAssocID="{2CA99409-F0EA-4619-8AD4-5957CB90224C}" presName="node" presStyleLbl="node1" presStyleIdx="8" presStyleCnt="12">
        <dgm:presLayoutVars>
          <dgm:bulletEnabled val="1"/>
        </dgm:presLayoutVars>
      </dgm:prSet>
      <dgm:spPr/>
    </dgm:pt>
    <dgm:pt modelId="{D2FE29E3-2639-A148-83D4-EF5875E16744}" type="pres">
      <dgm:prSet presAssocID="{8BE25754-4CA0-4482-8CA4-57BEF407BC5B}" presName="sibTrans" presStyleCnt="0"/>
      <dgm:spPr/>
    </dgm:pt>
    <dgm:pt modelId="{985107FC-57DF-0942-BA92-E449B6808FD7}" type="pres">
      <dgm:prSet presAssocID="{7F104076-60AF-4349-9D7E-535BFFF44528}" presName="node" presStyleLbl="node1" presStyleIdx="9" presStyleCnt="12">
        <dgm:presLayoutVars>
          <dgm:bulletEnabled val="1"/>
        </dgm:presLayoutVars>
      </dgm:prSet>
      <dgm:spPr/>
    </dgm:pt>
    <dgm:pt modelId="{4422BB8E-E325-364F-912C-0CFF09B26E87}" type="pres">
      <dgm:prSet presAssocID="{3274378A-BF76-4C6B-A9AD-BC28BC893EAC}" presName="sibTrans" presStyleCnt="0"/>
      <dgm:spPr/>
    </dgm:pt>
    <dgm:pt modelId="{2D246E09-9045-DF42-BAAE-3EE1C588D60E}" type="pres">
      <dgm:prSet presAssocID="{58447FAF-EB43-46FF-A397-F0807DD23895}" presName="node" presStyleLbl="node1" presStyleIdx="10" presStyleCnt="12">
        <dgm:presLayoutVars>
          <dgm:bulletEnabled val="1"/>
        </dgm:presLayoutVars>
      </dgm:prSet>
      <dgm:spPr/>
    </dgm:pt>
    <dgm:pt modelId="{51EA29E8-7C39-5B44-9435-83AA25E233BF}" type="pres">
      <dgm:prSet presAssocID="{AF8082F6-3AEA-4CB5-BB4B-78B57287746F}" presName="sibTrans" presStyleCnt="0"/>
      <dgm:spPr/>
    </dgm:pt>
    <dgm:pt modelId="{91E3620F-909C-614B-B532-3372A5477E68}" type="pres">
      <dgm:prSet presAssocID="{FF0D2C66-0CDC-4F37-96F0-6A1B6ADB74E2}" presName="node" presStyleLbl="node1" presStyleIdx="11" presStyleCnt="12">
        <dgm:presLayoutVars>
          <dgm:bulletEnabled val="1"/>
        </dgm:presLayoutVars>
      </dgm:prSet>
      <dgm:spPr/>
    </dgm:pt>
  </dgm:ptLst>
  <dgm:cxnLst>
    <dgm:cxn modelId="{0222BC08-B99E-F242-A412-6C7C0FE285EB}" type="presOf" srcId="{DCF39788-07F4-114D-ADF5-FEF891303C34}" destId="{437F2BA5-4910-B744-B454-058DB5E3062C}" srcOrd="0" destOrd="0" presId="urn:microsoft.com/office/officeart/2005/8/layout/default"/>
    <dgm:cxn modelId="{4139CB18-4A16-854C-814B-5C4327803149}" srcId="{FA5F5DA7-5120-4BF5-8F55-0CC45AE9EB04}" destId="{DEFB2F0F-8318-2148-943F-E0FE38D99ADF}" srcOrd="5" destOrd="0" parTransId="{C9DA691E-EB36-A348-8ADA-CE2BADDB7330}" sibTransId="{979061E2-AF27-224F-B573-3E196A9FA9D8}"/>
    <dgm:cxn modelId="{774F6B20-172B-5B4F-9215-A65EEE78FC5E}" srcId="{FA5F5DA7-5120-4BF5-8F55-0CC45AE9EB04}" destId="{B81F2DE1-2A18-9249-BE3D-B5435427A40B}" srcOrd="6" destOrd="0" parTransId="{8D2F11A7-147C-104D-86E6-47AFFE6B7B9C}" sibTransId="{B504A903-54EF-404A-B9B7-445126C39873}"/>
    <dgm:cxn modelId="{EDB75F24-E632-4C69-B121-66E3E5C4A7F0}" srcId="{FA5F5DA7-5120-4BF5-8F55-0CC45AE9EB04}" destId="{FF0D2C66-0CDC-4F37-96F0-6A1B6ADB74E2}" srcOrd="11" destOrd="0" parTransId="{DB8D8FD0-E6B6-4E04-82A7-C51F450E9CD8}" sibTransId="{142FB636-3AB0-4C5F-B2FB-3D97EA4F57F6}"/>
    <dgm:cxn modelId="{CACB7B2B-5AA4-443A-9FC9-5F608404B934}" srcId="{FA5F5DA7-5120-4BF5-8F55-0CC45AE9EB04}" destId="{58447FAF-EB43-46FF-A397-F0807DD23895}" srcOrd="10" destOrd="0" parTransId="{2401DFBE-7DFF-4E44-A24B-9D529271CDD0}" sibTransId="{AF8082F6-3AEA-4CB5-BB4B-78B57287746F}"/>
    <dgm:cxn modelId="{E17EFD39-CD41-D541-80F2-0EC364872527}" srcId="{FA5F5DA7-5120-4BF5-8F55-0CC45AE9EB04}" destId="{056E6E84-221A-944F-BE8E-99E061446F12}" srcOrd="4" destOrd="0" parTransId="{15268B47-A009-8D42-9A46-BBDC65535E2B}" sibTransId="{F011A178-9679-A64A-9F6F-AB61AB5DBDC6}"/>
    <dgm:cxn modelId="{9DD9835B-79CD-1C45-AB45-9BD9349B4C83}" type="presOf" srcId="{DEFB2F0F-8318-2148-943F-E0FE38D99ADF}" destId="{57BAA123-FD63-E04C-86DB-7D5DD6DD1A81}" srcOrd="0" destOrd="0" presId="urn:microsoft.com/office/officeart/2005/8/layout/default"/>
    <dgm:cxn modelId="{4FF93563-9805-BB43-99CC-A54EC25D25CC}" srcId="{FA5F5DA7-5120-4BF5-8F55-0CC45AE9EB04}" destId="{9DDBC597-F381-6F49-936B-7C424488F514}" srcOrd="2" destOrd="0" parTransId="{8C0985AE-0445-CF4C-AF7D-DE740ED4D23A}" sibTransId="{272FF4AC-8545-034A-89AD-139323995CCD}"/>
    <dgm:cxn modelId="{E58E0F45-A403-9B49-B971-26AF60123613}" type="presOf" srcId="{2CA99409-F0EA-4619-8AD4-5957CB90224C}" destId="{1F90E05F-BDB7-894F-BE82-AD31FF4B67A3}" srcOrd="0" destOrd="0" presId="urn:microsoft.com/office/officeart/2005/8/layout/default"/>
    <dgm:cxn modelId="{2D37C365-B34C-854A-80AF-A2DA72749936}" type="presOf" srcId="{FF0D2C66-0CDC-4F37-96F0-6A1B6ADB74E2}" destId="{91E3620F-909C-614B-B532-3372A5477E68}" srcOrd="0" destOrd="0" presId="urn:microsoft.com/office/officeart/2005/8/layout/default"/>
    <dgm:cxn modelId="{06764F48-DD69-7C49-91D4-719D5DA3C383}" type="presOf" srcId="{D9D0B550-3C14-41B5-B238-55B06FAF91C3}" destId="{3E8CAB2C-8657-AD4D-A757-2BDFF328BC1D}" srcOrd="0" destOrd="0" presId="urn:microsoft.com/office/officeart/2005/8/layout/default"/>
    <dgm:cxn modelId="{4D5B316A-16F2-4CA9-835B-CF388F33722D}" srcId="{FA5F5DA7-5120-4BF5-8F55-0CC45AE9EB04}" destId="{2CA99409-F0EA-4619-8AD4-5957CB90224C}" srcOrd="8" destOrd="0" parTransId="{A46D3DE2-4477-478B-8F28-BBB6446D8E57}" sibTransId="{8BE25754-4CA0-4482-8CA4-57BEF407BC5B}"/>
    <dgm:cxn modelId="{4E533570-7DBB-B343-991E-0521F637A9FF}" type="presOf" srcId="{7029507F-1850-F348-A6A4-9AD3D1C6772F}" destId="{96BEF0CC-4718-6444-8FB5-A9CE161C6FF3}" srcOrd="0" destOrd="0" presId="urn:microsoft.com/office/officeart/2005/8/layout/default"/>
    <dgm:cxn modelId="{1F393373-D7E6-4F3F-A101-36B91BE9D6B7}" srcId="{FA5F5DA7-5120-4BF5-8F55-0CC45AE9EB04}" destId="{7F104076-60AF-4349-9D7E-535BFFF44528}" srcOrd="9" destOrd="0" parTransId="{553CAB00-0CFD-4739-BD8E-829090D8B5CD}" sibTransId="{3274378A-BF76-4C6B-A9AD-BC28BC893EAC}"/>
    <dgm:cxn modelId="{22CC0C59-2159-B349-AF57-65AFD70C26FD}" srcId="{FA5F5DA7-5120-4BF5-8F55-0CC45AE9EB04}" destId="{DCF39788-07F4-114D-ADF5-FEF891303C34}" srcOrd="1" destOrd="0" parTransId="{FE65FE18-33F1-C64B-A49A-745D93B7538C}" sibTransId="{F482D8EA-482C-8241-BB66-2BE9CECED018}"/>
    <dgm:cxn modelId="{FA48C78C-5F18-2A4E-A4CC-CDC90BAD4BD0}" type="presOf" srcId="{9DDBC597-F381-6F49-936B-7C424488F514}" destId="{D7F33E9E-72F0-974A-A68C-A0E67C2D2777}" srcOrd="0" destOrd="0" presId="urn:microsoft.com/office/officeart/2005/8/layout/default"/>
    <dgm:cxn modelId="{73E86397-25B6-3D4D-8E94-71394091707D}" srcId="{FA5F5DA7-5120-4BF5-8F55-0CC45AE9EB04}" destId="{0750F04F-4C6C-DE4D-8616-E394FB074127}" srcOrd="3" destOrd="0" parTransId="{78ED3D67-86BB-CF4F-97C2-32B5E9B83513}" sibTransId="{56541F6C-578B-D64C-A640-75EE0DFC4E37}"/>
    <dgm:cxn modelId="{3E865799-4CC8-0845-994B-B7675A5C8C21}" type="presOf" srcId="{FA5F5DA7-5120-4BF5-8F55-0CC45AE9EB04}" destId="{D70720BF-0A1C-7449-B3DF-6D6680E6F78B}" srcOrd="0" destOrd="0" presId="urn:microsoft.com/office/officeart/2005/8/layout/default"/>
    <dgm:cxn modelId="{988844A1-E0C2-4142-AEA6-169E779D25DF}" type="presOf" srcId="{58447FAF-EB43-46FF-A397-F0807DD23895}" destId="{2D246E09-9045-DF42-BAAE-3EE1C588D60E}" srcOrd="0" destOrd="0" presId="urn:microsoft.com/office/officeart/2005/8/layout/default"/>
    <dgm:cxn modelId="{3E46C4B6-E295-D244-A8C4-3FC4A2796BF5}" type="presOf" srcId="{7F104076-60AF-4349-9D7E-535BFFF44528}" destId="{985107FC-57DF-0942-BA92-E449B6808FD7}" srcOrd="0" destOrd="0" presId="urn:microsoft.com/office/officeart/2005/8/layout/default"/>
    <dgm:cxn modelId="{5B4241C4-C89E-D545-A3D1-33EFE36E9F3F}" type="presOf" srcId="{0750F04F-4C6C-DE4D-8616-E394FB074127}" destId="{6310A96B-2BFE-214E-B2B0-13FA19AEA0BE}" srcOrd="0" destOrd="0" presId="urn:microsoft.com/office/officeart/2005/8/layout/default"/>
    <dgm:cxn modelId="{7EF352DF-69BE-5D44-AED2-8342973C46F7}" type="presOf" srcId="{056E6E84-221A-944F-BE8E-99E061446F12}" destId="{1EF5EF61-7AAB-704A-B0FA-9B1862BFC0AF}" srcOrd="0" destOrd="0" presId="urn:microsoft.com/office/officeart/2005/8/layout/default"/>
    <dgm:cxn modelId="{56A53CE3-B6CB-FC4F-BE9E-5D89129DE1F4}" type="presOf" srcId="{B81F2DE1-2A18-9249-BE3D-B5435427A40B}" destId="{88089AAB-B8C2-7D4E-84B7-26080A3527FC}" srcOrd="0" destOrd="0" presId="urn:microsoft.com/office/officeart/2005/8/layout/default"/>
    <dgm:cxn modelId="{460E72EF-E9B9-C742-A2C5-53AF1C366249}" srcId="{FA5F5DA7-5120-4BF5-8F55-0CC45AE9EB04}" destId="{7029507F-1850-F348-A6A4-9AD3D1C6772F}" srcOrd="7" destOrd="0" parTransId="{032BD5E2-EF59-BF41-B482-93DBB030C718}" sibTransId="{65831D22-BFB3-464F-8CDF-70022020440D}"/>
    <dgm:cxn modelId="{4A7FFFF5-2B8A-4011-9924-70931696EF2B}" srcId="{FA5F5DA7-5120-4BF5-8F55-0CC45AE9EB04}" destId="{D9D0B550-3C14-41B5-B238-55B06FAF91C3}" srcOrd="0" destOrd="0" parTransId="{C86772FC-4AD6-4BBA-ABB0-8A19BA356E57}" sibTransId="{1C591D79-EC67-40E6-8AB4-1E1BD0C267B3}"/>
    <dgm:cxn modelId="{59E6BEEA-4E45-5E4B-BF7F-5E1B49056CB2}" type="presParOf" srcId="{D70720BF-0A1C-7449-B3DF-6D6680E6F78B}" destId="{3E8CAB2C-8657-AD4D-A757-2BDFF328BC1D}" srcOrd="0" destOrd="0" presId="urn:microsoft.com/office/officeart/2005/8/layout/default"/>
    <dgm:cxn modelId="{37CB751F-833D-A14A-B7EF-53B50889C8C0}" type="presParOf" srcId="{D70720BF-0A1C-7449-B3DF-6D6680E6F78B}" destId="{CAAD1741-3E97-C745-84FE-6370695CC5C8}" srcOrd="1" destOrd="0" presId="urn:microsoft.com/office/officeart/2005/8/layout/default"/>
    <dgm:cxn modelId="{406DFA7E-DE51-074A-870E-52D156DC9186}" type="presParOf" srcId="{D70720BF-0A1C-7449-B3DF-6D6680E6F78B}" destId="{437F2BA5-4910-B744-B454-058DB5E3062C}" srcOrd="2" destOrd="0" presId="urn:microsoft.com/office/officeart/2005/8/layout/default"/>
    <dgm:cxn modelId="{8BBCCD96-7FEF-DA45-9CD6-7457A5076999}" type="presParOf" srcId="{D70720BF-0A1C-7449-B3DF-6D6680E6F78B}" destId="{1027C365-90CE-EE46-A10C-BAE62D1A715B}" srcOrd="3" destOrd="0" presId="urn:microsoft.com/office/officeart/2005/8/layout/default"/>
    <dgm:cxn modelId="{AE2912AF-2175-7147-A9F9-068223C82592}" type="presParOf" srcId="{D70720BF-0A1C-7449-B3DF-6D6680E6F78B}" destId="{D7F33E9E-72F0-974A-A68C-A0E67C2D2777}" srcOrd="4" destOrd="0" presId="urn:microsoft.com/office/officeart/2005/8/layout/default"/>
    <dgm:cxn modelId="{D6A6B162-F3BE-A54E-AEDA-9B6F0A8E35B9}" type="presParOf" srcId="{D70720BF-0A1C-7449-B3DF-6D6680E6F78B}" destId="{F6214C0B-AB8F-664D-9F5F-9F552D3C1FA5}" srcOrd="5" destOrd="0" presId="urn:microsoft.com/office/officeart/2005/8/layout/default"/>
    <dgm:cxn modelId="{128DE6D4-4760-344C-908D-32D1F314A41B}" type="presParOf" srcId="{D70720BF-0A1C-7449-B3DF-6D6680E6F78B}" destId="{6310A96B-2BFE-214E-B2B0-13FA19AEA0BE}" srcOrd="6" destOrd="0" presId="urn:microsoft.com/office/officeart/2005/8/layout/default"/>
    <dgm:cxn modelId="{4807409B-D1D3-0F40-B45B-759E3803A799}" type="presParOf" srcId="{D70720BF-0A1C-7449-B3DF-6D6680E6F78B}" destId="{CE20B538-91D3-DD48-9E48-5DE90546391E}" srcOrd="7" destOrd="0" presId="urn:microsoft.com/office/officeart/2005/8/layout/default"/>
    <dgm:cxn modelId="{A9114CDF-90E2-DD41-BD2B-736448690A08}" type="presParOf" srcId="{D70720BF-0A1C-7449-B3DF-6D6680E6F78B}" destId="{1EF5EF61-7AAB-704A-B0FA-9B1862BFC0AF}" srcOrd="8" destOrd="0" presId="urn:microsoft.com/office/officeart/2005/8/layout/default"/>
    <dgm:cxn modelId="{246C6B9B-517B-A743-98AD-3D61332D3F65}" type="presParOf" srcId="{D70720BF-0A1C-7449-B3DF-6D6680E6F78B}" destId="{DAFCE1CF-6A0B-054D-958F-006560651CB8}" srcOrd="9" destOrd="0" presId="urn:microsoft.com/office/officeart/2005/8/layout/default"/>
    <dgm:cxn modelId="{82E3AF0E-CE2C-6F4D-910B-63E5CFD36855}" type="presParOf" srcId="{D70720BF-0A1C-7449-B3DF-6D6680E6F78B}" destId="{57BAA123-FD63-E04C-86DB-7D5DD6DD1A81}" srcOrd="10" destOrd="0" presId="urn:microsoft.com/office/officeart/2005/8/layout/default"/>
    <dgm:cxn modelId="{41D4D60E-A221-1F46-8117-4DFAC203E135}" type="presParOf" srcId="{D70720BF-0A1C-7449-B3DF-6D6680E6F78B}" destId="{2379D95E-DBDF-624C-AE1B-560FA442A71C}" srcOrd="11" destOrd="0" presId="urn:microsoft.com/office/officeart/2005/8/layout/default"/>
    <dgm:cxn modelId="{44187780-3F9C-4F43-81FB-5C5CE870067B}" type="presParOf" srcId="{D70720BF-0A1C-7449-B3DF-6D6680E6F78B}" destId="{88089AAB-B8C2-7D4E-84B7-26080A3527FC}" srcOrd="12" destOrd="0" presId="urn:microsoft.com/office/officeart/2005/8/layout/default"/>
    <dgm:cxn modelId="{1345B75C-2649-2347-826C-F077CE988B28}" type="presParOf" srcId="{D70720BF-0A1C-7449-B3DF-6D6680E6F78B}" destId="{20FFF250-68DA-E04A-874C-38AD5699CFC6}" srcOrd="13" destOrd="0" presId="urn:microsoft.com/office/officeart/2005/8/layout/default"/>
    <dgm:cxn modelId="{88CA04D6-BE45-744F-8877-B68E8860B86A}" type="presParOf" srcId="{D70720BF-0A1C-7449-B3DF-6D6680E6F78B}" destId="{96BEF0CC-4718-6444-8FB5-A9CE161C6FF3}" srcOrd="14" destOrd="0" presId="urn:microsoft.com/office/officeart/2005/8/layout/default"/>
    <dgm:cxn modelId="{3054B77B-3C29-2F45-A99B-21AB82B93634}" type="presParOf" srcId="{D70720BF-0A1C-7449-B3DF-6D6680E6F78B}" destId="{571DA9C8-4E2B-BA4B-A9B1-1A3655FB7A77}" srcOrd="15" destOrd="0" presId="urn:microsoft.com/office/officeart/2005/8/layout/default"/>
    <dgm:cxn modelId="{AE2CFAAC-EDD7-D446-85DF-8DEF4AC1B84A}" type="presParOf" srcId="{D70720BF-0A1C-7449-B3DF-6D6680E6F78B}" destId="{1F90E05F-BDB7-894F-BE82-AD31FF4B67A3}" srcOrd="16" destOrd="0" presId="urn:microsoft.com/office/officeart/2005/8/layout/default"/>
    <dgm:cxn modelId="{904CE06C-E420-4F47-8276-6A7A8264C4CC}" type="presParOf" srcId="{D70720BF-0A1C-7449-B3DF-6D6680E6F78B}" destId="{D2FE29E3-2639-A148-83D4-EF5875E16744}" srcOrd="17" destOrd="0" presId="urn:microsoft.com/office/officeart/2005/8/layout/default"/>
    <dgm:cxn modelId="{C677DECB-94CD-D048-9E6A-516249ED1D09}" type="presParOf" srcId="{D70720BF-0A1C-7449-B3DF-6D6680E6F78B}" destId="{985107FC-57DF-0942-BA92-E449B6808FD7}" srcOrd="18" destOrd="0" presId="urn:microsoft.com/office/officeart/2005/8/layout/default"/>
    <dgm:cxn modelId="{049400B4-7543-5248-BF1C-BCA549B22938}" type="presParOf" srcId="{D70720BF-0A1C-7449-B3DF-6D6680E6F78B}" destId="{4422BB8E-E325-364F-912C-0CFF09B26E87}" srcOrd="19" destOrd="0" presId="urn:microsoft.com/office/officeart/2005/8/layout/default"/>
    <dgm:cxn modelId="{914C6349-E113-5C45-A06D-62C2622DE3A3}" type="presParOf" srcId="{D70720BF-0A1C-7449-B3DF-6D6680E6F78B}" destId="{2D246E09-9045-DF42-BAAE-3EE1C588D60E}" srcOrd="20" destOrd="0" presId="urn:microsoft.com/office/officeart/2005/8/layout/default"/>
    <dgm:cxn modelId="{08C90031-7F91-3547-9290-D1FFA3B0B0C8}" type="presParOf" srcId="{D70720BF-0A1C-7449-B3DF-6D6680E6F78B}" destId="{51EA29E8-7C39-5B44-9435-83AA25E233BF}" srcOrd="21" destOrd="0" presId="urn:microsoft.com/office/officeart/2005/8/layout/default"/>
    <dgm:cxn modelId="{8FDAAE40-F8AE-714B-9D93-EE815E1C114D}" type="presParOf" srcId="{D70720BF-0A1C-7449-B3DF-6D6680E6F78B}" destId="{91E3620F-909C-614B-B532-3372A5477E68}" srcOrd="2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6914A7B-D20C-4E41-B28C-F5A33A0CE0DA}" type="doc">
      <dgm:prSet loTypeId="urn:microsoft.com/office/officeart/2005/8/layout/gear1" loCatId="" qsTypeId="urn:microsoft.com/office/officeart/2005/8/quickstyle/simple1" qsCatId="simple" csTypeId="urn:microsoft.com/office/officeart/2005/8/colors/colorful3" csCatId="colorful" phldr="1"/>
      <dgm:spPr/>
    </dgm:pt>
    <dgm:pt modelId="{5D8DAFC2-1478-9141-98D8-FCF6734DB2C4}">
      <dgm:prSet phldrT="[Text]"/>
      <dgm:spPr/>
      <dgm:t>
        <a:bodyPr/>
        <a:lstStyle/>
        <a:p>
          <a:r>
            <a:rPr lang="en-GB" dirty="0" err="1"/>
            <a:t>Sommeil</a:t>
          </a:r>
          <a:endParaRPr lang="en-GB" dirty="0"/>
        </a:p>
      </dgm:t>
    </dgm:pt>
    <dgm:pt modelId="{78D828C5-B486-D746-A1AF-17C35A49E744}" type="parTrans" cxnId="{3C78039A-8A8F-474A-8785-440C221B44B7}">
      <dgm:prSet/>
      <dgm:spPr/>
      <dgm:t>
        <a:bodyPr/>
        <a:lstStyle/>
        <a:p>
          <a:endParaRPr lang="en-GB"/>
        </a:p>
      </dgm:t>
    </dgm:pt>
    <dgm:pt modelId="{89939F4D-5B7D-CF49-BCB0-6A1BBE7352F3}" type="sibTrans" cxnId="{3C78039A-8A8F-474A-8785-440C221B44B7}">
      <dgm:prSet/>
      <dgm:spPr/>
      <dgm:t>
        <a:bodyPr/>
        <a:lstStyle/>
        <a:p>
          <a:endParaRPr lang="en-GB"/>
        </a:p>
      </dgm:t>
    </dgm:pt>
    <dgm:pt modelId="{778D8671-5724-7D4F-87C3-E867BEB937DD}">
      <dgm:prSet phldrT="[Text]"/>
      <dgm:spPr/>
      <dgm:t>
        <a:bodyPr/>
        <a:lstStyle/>
        <a:p>
          <a:r>
            <a:rPr lang="en-GB" dirty="0" err="1"/>
            <a:t>Activité</a:t>
          </a:r>
          <a:endParaRPr lang="en-GB" dirty="0"/>
        </a:p>
      </dgm:t>
    </dgm:pt>
    <dgm:pt modelId="{6AC969A3-CE6E-844B-8176-9A05107E1436}" type="parTrans" cxnId="{C391ED78-9816-634E-9D8F-C915D68B9A2D}">
      <dgm:prSet/>
      <dgm:spPr/>
      <dgm:t>
        <a:bodyPr/>
        <a:lstStyle/>
        <a:p>
          <a:endParaRPr lang="en-GB"/>
        </a:p>
      </dgm:t>
    </dgm:pt>
    <dgm:pt modelId="{300A440D-25D4-1F42-A971-CEC0AC77FF8A}" type="sibTrans" cxnId="{C391ED78-9816-634E-9D8F-C915D68B9A2D}">
      <dgm:prSet/>
      <dgm:spPr/>
      <dgm:t>
        <a:bodyPr/>
        <a:lstStyle/>
        <a:p>
          <a:endParaRPr lang="en-GB"/>
        </a:p>
      </dgm:t>
    </dgm:pt>
    <dgm:pt modelId="{F37ACA4F-5E93-0D4D-A149-BE938A2C3C08}">
      <dgm:prSet phldrT="[Text]"/>
      <dgm:spPr/>
      <dgm:t>
        <a:bodyPr/>
        <a:lstStyle/>
        <a:p>
          <a:r>
            <a:rPr lang="en-GB" dirty="0"/>
            <a:t>Nutrition</a:t>
          </a:r>
        </a:p>
      </dgm:t>
    </dgm:pt>
    <dgm:pt modelId="{4F0A086E-928E-FF4A-8DC4-D9BEB66C6473}" type="parTrans" cxnId="{8576D9AB-CAFD-1048-9122-0337A3093371}">
      <dgm:prSet/>
      <dgm:spPr/>
      <dgm:t>
        <a:bodyPr/>
        <a:lstStyle/>
        <a:p>
          <a:endParaRPr lang="en-GB"/>
        </a:p>
      </dgm:t>
    </dgm:pt>
    <dgm:pt modelId="{195851A9-83A7-0E40-AECD-5A139A6FC993}" type="sibTrans" cxnId="{8576D9AB-CAFD-1048-9122-0337A3093371}">
      <dgm:prSet/>
      <dgm:spPr/>
      <dgm:t>
        <a:bodyPr/>
        <a:lstStyle/>
        <a:p>
          <a:endParaRPr lang="en-GB"/>
        </a:p>
      </dgm:t>
    </dgm:pt>
    <dgm:pt modelId="{61272657-3ECE-6044-85CB-3D06F66C8494}" type="pres">
      <dgm:prSet presAssocID="{F6914A7B-D20C-4E41-B28C-F5A33A0CE0D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FDC0F4-2F84-2F43-8EC8-06E518B29297}" type="pres">
      <dgm:prSet presAssocID="{5D8DAFC2-1478-9141-98D8-FCF6734DB2C4}" presName="gear1" presStyleLbl="node1" presStyleIdx="0" presStyleCnt="3">
        <dgm:presLayoutVars>
          <dgm:chMax val="1"/>
          <dgm:bulletEnabled val="1"/>
        </dgm:presLayoutVars>
      </dgm:prSet>
      <dgm:spPr/>
    </dgm:pt>
    <dgm:pt modelId="{3C4CC788-A0A0-2847-9C7F-D5BF26440CEB}" type="pres">
      <dgm:prSet presAssocID="{5D8DAFC2-1478-9141-98D8-FCF6734DB2C4}" presName="gear1srcNode" presStyleLbl="node1" presStyleIdx="0" presStyleCnt="3"/>
      <dgm:spPr/>
    </dgm:pt>
    <dgm:pt modelId="{9225011B-EF56-E245-9CB4-0171C933F722}" type="pres">
      <dgm:prSet presAssocID="{5D8DAFC2-1478-9141-98D8-FCF6734DB2C4}" presName="gear1dstNode" presStyleLbl="node1" presStyleIdx="0" presStyleCnt="3"/>
      <dgm:spPr/>
    </dgm:pt>
    <dgm:pt modelId="{7A406FA2-5117-194C-BB6F-AAFD7029EF58}" type="pres">
      <dgm:prSet presAssocID="{778D8671-5724-7D4F-87C3-E867BEB937DD}" presName="gear2" presStyleLbl="node1" presStyleIdx="1" presStyleCnt="3">
        <dgm:presLayoutVars>
          <dgm:chMax val="1"/>
          <dgm:bulletEnabled val="1"/>
        </dgm:presLayoutVars>
      </dgm:prSet>
      <dgm:spPr/>
    </dgm:pt>
    <dgm:pt modelId="{4D93214B-267F-DF43-B2DD-0E5B1F5108C8}" type="pres">
      <dgm:prSet presAssocID="{778D8671-5724-7D4F-87C3-E867BEB937DD}" presName="gear2srcNode" presStyleLbl="node1" presStyleIdx="1" presStyleCnt="3"/>
      <dgm:spPr/>
    </dgm:pt>
    <dgm:pt modelId="{5773122E-36EB-6C49-B121-CC69470B0E8E}" type="pres">
      <dgm:prSet presAssocID="{778D8671-5724-7D4F-87C3-E867BEB937DD}" presName="gear2dstNode" presStyleLbl="node1" presStyleIdx="1" presStyleCnt="3"/>
      <dgm:spPr/>
    </dgm:pt>
    <dgm:pt modelId="{2D46E493-C4D8-6842-BD05-6426F61EB0B8}" type="pres">
      <dgm:prSet presAssocID="{F37ACA4F-5E93-0D4D-A149-BE938A2C3C08}" presName="gear3" presStyleLbl="node1" presStyleIdx="2" presStyleCnt="3"/>
      <dgm:spPr/>
    </dgm:pt>
    <dgm:pt modelId="{E6420502-A7E9-C64A-B10A-814B95E5F015}" type="pres">
      <dgm:prSet presAssocID="{F37ACA4F-5E93-0D4D-A149-BE938A2C3C08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7F176002-1C9D-D24E-A18D-E8DEDA8621F8}" type="pres">
      <dgm:prSet presAssocID="{F37ACA4F-5E93-0D4D-A149-BE938A2C3C08}" presName="gear3srcNode" presStyleLbl="node1" presStyleIdx="2" presStyleCnt="3"/>
      <dgm:spPr/>
    </dgm:pt>
    <dgm:pt modelId="{8F51DD4B-C83D-4845-BA1C-10346B9F7CAE}" type="pres">
      <dgm:prSet presAssocID="{F37ACA4F-5E93-0D4D-A149-BE938A2C3C08}" presName="gear3dstNode" presStyleLbl="node1" presStyleIdx="2" presStyleCnt="3"/>
      <dgm:spPr/>
    </dgm:pt>
    <dgm:pt modelId="{CB5DC0E8-7525-9245-946D-FF487D9A9275}" type="pres">
      <dgm:prSet presAssocID="{89939F4D-5B7D-CF49-BCB0-6A1BBE7352F3}" presName="connector1" presStyleLbl="sibTrans2D1" presStyleIdx="0" presStyleCnt="3"/>
      <dgm:spPr/>
    </dgm:pt>
    <dgm:pt modelId="{94D02AE9-4D55-9345-BA26-20AF5B99B114}" type="pres">
      <dgm:prSet presAssocID="{300A440D-25D4-1F42-A971-CEC0AC77FF8A}" presName="connector2" presStyleLbl="sibTrans2D1" presStyleIdx="1" presStyleCnt="3"/>
      <dgm:spPr/>
    </dgm:pt>
    <dgm:pt modelId="{91FC7065-30B5-B344-80BB-E26A46FFA3F6}" type="pres">
      <dgm:prSet presAssocID="{195851A9-83A7-0E40-AECD-5A139A6FC993}" presName="connector3" presStyleLbl="sibTrans2D1" presStyleIdx="2" presStyleCnt="3"/>
      <dgm:spPr/>
    </dgm:pt>
  </dgm:ptLst>
  <dgm:cxnLst>
    <dgm:cxn modelId="{13F17A03-5DDA-DC43-849A-246CE2487F94}" type="presOf" srcId="{778D8671-5724-7D4F-87C3-E867BEB937DD}" destId="{7A406FA2-5117-194C-BB6F-AAFD7029EF58}" srcOrd="0" destOrd="0" presId="urn:microsoft.com/office/officeart/2005/8/layout/gear1"/>
    <dgm:cxn modelId="{B5824428-4D50-4C43-BAE2-BB89EAC18682}" type="presOf" srcId="{F6914A7B-D20C-4E41-B28C-F5A33A0CE0DA}" destId="{61272657-3ECE-6044-85CB-3D06F66C8494}" srcOrd="0" destOrd="0" presId="urn:microsoft.com/office/officeart/2005/8/layout/gear1"/>
    <dgm:cxn modelId="{733FA839-6A3D-C240-A6D3-C4E230850337}" type="presOf" srcId="{5D8DAFC2-1478-9141-98D8-FCF6734DB2C4}" destId="{9225011B-EF56-E245-9CB4-0171C933F722}" srcOrd="2" destOrd="0" presId="urn:microsoft.com/office/officeart/2005/8/layout/gear1"/>
    <dgm:cxn modelId="{CE21AD3A-080D-B847-AF39-11E42D3DDA94}" type="presOf" srcId="{F37ACA4F-5E93-0D4D-A149-BE938A2C3C08}" destId="{7F176002-1C9D-D24E-A18D-E8DEDA8621F8}" srcOrd="2" destOrd="0" presId="urn:microsoft.com/office/officeart/2005/8/layout/gear1"/>
    <dgm:cxn modelId="{0F2BEB45-7B72-ED47-AD3B-5005EAFCABD6}" type="presOf" srcId="{F37ACA4F-5E93-0D4D-A149-BE938A2C3C08}" destId="{8F51DD4B-C83D-4845-BA1C-10346B9F7CAE}" srcOrd="3" destOrd="0" presId="urn:microsoft.com/office/officeart/2005/8/layout/gear1"/>
    <dgm:cxn modelId="{CA399A6B-9645-F843-B37E-1FDD627A1833}" type="presOf" srcId="{F37ACA4F-5E93-0D4D-A149-BE938A2C3C08}" destId="{E6420502-A7E9-C64A-B10A-814B95E5F015}" srcOrd="1" destOrd="0" presId="urn:microsoft.com/office/officeart/2005/8/layout/gear1"/>
    <dgm:cxn modelId="{C391ED78-9816-634E-9D8F-C915D68B9A2D}" srcId="{F6914A7B-D20C-4E41-B28C-F5A33A0CE0DA}" destId="{778D8671-5724-7D4F-87C3-E867BEB937DD}" srcOrd="1" destOrd="0" parTransId="{6AC969A3-CE6E-844B-8176-9A05107E1436}" sibTransId="{300A440D-25D4-1F42-A971-CEC0AC77FF8A}"/>
    <dgm:cxn modelId="{165F1093-5A62-264D-A2AA-DD94B72395B1}" type="presOf" srcId="{5D8DAFC2-1478-9141-98D8-FCF6734DB2C4}" destId="{DFFDC0F4-2F84-2F43-8EC8-06E518B29297}" srcOrd="0" destOrd="0" presId="urn:microsoft.com/office/officeart/2005/8/layout/gear1"/>
    <dgm:cxn modelId="{3C78039A-8A8F-474A-8785-440C221B44B7}" srcId="{F6914A7B-D20C-4E41-B28C-F5A33A0CE0DA}" destId="{5D8DAFC2-1478-9141-98D8-FCF6734DB2C4}" srcOrd="0" destOrd="0" parTransId="{78D828C5-B486-D746-A1AF-17C35A49E744}" sibTransId="{89939F4D-5B7D-CF49-BCB0-6A1BBE7352F3}"/>
    <dgm:cxn modelId="{B74FEF9F-F403-3545-996C-6CDE78A80047}" type="presOf" srcId="{778D8671-5724-7D4F-87C3-E867BEB937DD}" destId="{4D93214B-267F-DF43-B2DD-0E5B1F5108C8}" srcOrd="1" destOrd="0" presId="urn:microsoft.com/office/officeart/2005/8/layout/gear1"/>
    <dgm:cxn modelId="{CCB717A1-BCBF-7F43-9C2E-AEEF72302B3E}" type="presOf" srcId="{195851A9-83A7-0E40-AECD-5A139A6FC993}" destId="{91FC7065-30B5-B344-80BB-E26A46FFA3F6}" srcOrd="0" destOrd="0" presId="urn:microsoft.com/office/officeart/2005/8/layout/gear1"/>
    <dgm:cxn modelId="{8576D9AB-CAFD-1048-9122-0337A3093371}" srcId="{F6914A7B-D20C-4E41-B28C-F5A33A0CE0DA}" destId="{F37ACA4F-5E93-0D4D-A149-BE938A2C3C08}" srcOrd="2" destOrd="0" parTransId="{4F0A086E-928E-FF4A-8DC4-D9BEB66C6473}" sibTransId="{195851A9-83A7-0E40-AECD-5A139A6FC993}"/>
    <dgm:cxn modelId="{93595FC8-3956-9F48-8F97-CF702756D1B4}" type="presOf" srcId="{300A440D-25D4-1F42-A971-CEC0AC77FF8A}" destId="{94D02AE9-4D55-9345-BA26-20AF5B99B114}" srcOrd="0" destOrd="0" presId="urn:microsoft.com/office/officeart/2005/8/layout/gear1"/>
    <dgm:cxn modelId="{90F7DBD8-A3BA-8D41-BC44-1A78EAB976C2}" type="presOf" srcId="{89939F4D-5B7D-CF49-BCB0-6A1BBE7352F3}" destId="{CB5DC0E8-7525-9245-946D-FF487D9A9275}" srcOrd="0" destOrd="0" presId="urn:microsoft.com/office/officeart/2005/8/layout/gear1"/>
    <dgm:cxn modelId="{26E9B5DE-A86B-0F4C-BFF1-C3A3F2749175}" type="presOf" srcId="{F37ACA4F-5E93-0D4D-A149-BE938A2C3C08}" destId="{2D46E493-C4D8-6842-BD05-6426F61EB0B8}" srcOrd="0" destOrd="0" presId="urn:microsoft.com/office/officeart/2005/8/layout/gear1"/>
    <dgm:cxn modelId="{92FECBDE-008B-6C44-B1ED-599A07ACDF47}" type="presOf" srcId="{778D8671-5724-7D4F-87C3-E867BEB937DD}" destId="{5773122E-36EB-6C49-B121-CC69470B0E8E}" srcOrd="2" destOrd="0" presId="urn:microsoft.com/office/officeart/2005/8/layout/gear1"/>
    <dgm:cxn modelId="{EEBB5DDF-0DD0-F64B-A2E2-4F70A8604CD2}" type="presOf" srcId="{5D8DAFC2-1478-9141-98D8-FCF6734DB2C4}" destId="{3C4CC788-A0A0-2847-9C7F-D5BF26440CEB}" srcOrd="1" destOrd="0" presId="urn:microsoft.com/office/officeart/2005/8/layout/gear1"/>
    <dgm:cxn modelId="{313328DE-7601-3A4D-AF85-4C71A7B1A002}" type="presParOf" srcId="{61272657-3ECE-6044-85CB-3D06F66C8494}" destId="{DFFDC0F4-2F84-2F43-8EC8-06E518B29297}" srcOrd="0" destOrd="0" presId="urn:microsoft.com/office/officeart/2005/8/layout/gear1"/>
    <dgm:cxn modelId="{9625CCCD-D226-AB4A-8819-9C896FF8D9D6}" type="presParOf" srcId="{61272657-3ECE-6044-85CB-3D06F66C8494}" destId="{3C4CC788-A0A0-2847-9C7F-D5BF26440CEB}" srcOrd="1" destOrd="0" presId="urn:microsoft.com/office/officeart/2005/8/layout/gear1"/>
    <dgm:cxn modelId="{30F38B95-6E9F-1D40-A57A-5B9629C42C55}" type="presParOf" srcId="{61272657-3ECE-6044-85CB-3D06F66C8494}" destId="{9225011B-EF56-E245-9CB4-0171C933F722}" srcOrd="2" destOrd="0" presId="urn:microsoft.com/office/officeart/2005/8/layout/gear1"/>
    <dgm:cxn modelId="{127F2192-321E-B441-840A-88EB402B7BC8}" type="presParOf" srcId="{61272657-3ECE-6044-85CB-3D06F66C8494}" destId="{7A406FA2-5117-194C-BB6F-AAFD7029EF58}" srcOrd="3" destOrd="0" presId="urn:microsoft.com/office/officeart/2005/8/layout/gear1"/>
    <dgm:cxn modelId="{9270BF48-96EB-9545-8A13-567C28DF58D3}" type="presParOf" srcId="{61272657-3ECE-6044-85CB-3D06F66C8494}" destId="{4D93214B-267F-DF43-B2DD-0E5B1F5108C8}" srcOrd="4" destOrd="0" presId="urn:microsoft.com/office/officeart/2005/8/layout/gear1"/>
    <dgm:cxn modelId="{E67C396A-F10D-3147-8F76-C85B8A865BDA}" type="presParOf" srcId="{61272657-3ECE-6044-85CB-3D06F66C8494}" destId="{5773122E-36EB-6C49-B121-CC69470B0E8E}" srcOrd="5" destOrd="0" presId="urn:microsoft.com/office/officeart/2005/8/layout/gear1"/>
    <dgm:cxn modelId="{C835287F-A4E4-A44C-921D-DA67D20974A9}" type="presParOf" srcId="{61272657-3ECE-6044-85CB-3D06F66C8494}" destId="{2D46E493-C4D8-6842-BD05-6426F61EB0B8}" srcOrd="6" destOrd="0" presId="urn:microsoft.com/office/officeart/2005/8/layout/gear1"/>
    <dgm:cxn modelId="{5DFB8BCE-B71A-8A42-A5EA-94FA2121F2CB}" type="presParOf" srcId="{61272657-3ECE-6044-85CB-3D06F66C8494}" destId="{E6420502-A7E9-C64A-B10A-814B95E5F015}" srcOrd="7" destOrd="0" presId="urn:microsoft.com/office/officeart/2005/8/layout/gear1"/>
    <dgm:cxn modelId="{E7D9FDBC-A9A5-0342-AF6D-FAD6EB9E3B7C}" type="presParOf" srcId="{61272657-3ECE-6044-85CB-3D06F66C8494}" destId="{7F176002-1C9D-D24E-A18D-E8DEDA8621F8}" srcOrd="8" destOrd="0" presId="urn:microsoft.com/office/officeart/2005/8/layout/gear1"/>
    <dgm:cxn modelId="{D0B7F829-C5CF-AE40-B8AF-63441E00FCCA}" type="presParOf" srcId="{61272657-3ECE-6044-85CB-3D06F66C8494}" destId="{8F51DD4B-C83D-4845-BA1C-10346B9F7CAE}" srcOrd="9" destOrd="0" presId="urn:microsoft.com/office/officeart/2005/8/layout/gear1"/>
    <dgm:cxn modelId="{6A8F0A52-940D-7E44-BA29-2CB875737F00}" type="presParOf" srcId="{61272657-3ECE-6044-85CB-3D06F66C8494}" destId="{CB5DC0E8-7525-9245-946D-FF487D9A9275}" srcOrd="10" destOrd="0" presId="urn:microsoft.com/office/officeart/2005/8/layout/gear1"/>
    <dgm:cxn modelId="{AA87AD87-53AD-4A46-92F4-132200FEDAA4}" type="presParOf" srcId="{61272657-3ECE-6044-85CB-3D06F66C8494}" destId="{94D02AE9-4D55-9345-BA26-20AF5B99B114}" srcOrd="11" destOrd="0" presId="urn:microsoft.com/office/officeart/2005/8/layout/gear1"/>
    <dgm:cxn modelId="{174AD099-7258-5443-BE06-E216FFE02569}" type="presParOf" srcId="{61272657-3ECE-6044-85CB-3D06F66C8494}" destId="{91FC7065-30B5-B344-80BB-E26A46FFA3F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ACEA9E7-BB0D-45B8-B296-98690ABE89A2}" type="doc">
      <dgm:prSet loTypeId="urn:microsoft.com/office/officeart/2005/8/layout/default" loCatId="list" qsTypeId="urn:microsoft.com/office/officeart/2005/8/quickstyle/simple2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D06A6F01-C0AB-456E-83B5-1D4E75754ECD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Cortisol</a:t>
          </a:r>
        </a:p>
      </dgm:t>
    </dgm:pt>
    <dgm:pt modelId="{BB276C6C-03D9-4028-B212-65ABB4721EC9}" type="parTrans" cxnId="{D4A9E3E9-BAEE-4780-AD1F-2CF5116A4A62}">
      <dgm:prSet/>
      <dgm:spPr/>
      <dgm:t>
        <a:bodyPr/>
        <a:lstStyle/>
        <a:p>
          <a:endParaRPr lang="en-US"/>
        </a:p>
      </dgm:t>
    </dgm:pt>
    <dgm:pt modelId="{629414EE-36A4-4CE3-9355-D8CF15B8327E}" type="sibTrans" cxnId="{D4A9E3E9-BAEE-4780-AD1F-2CF5116A4A62}">
      <dgm:prSet/>
      <dgm:spPr/>
      <dgm:t>
        <a:bodyPr/>
        <a:lstStyle/>
        <a:p>
          <a:endParaRPr lang="en-US"/>
        </a:p>
      </dgm:t>
    </dgm:pt>
    <dgm:pt modelId="{90990ADA-B8DD-4B25-B517-DBF27DAD97D0}">
      <dgm:prSet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Adrénaline</a:t>
          </a:r>
          <a:endParaRPr lang="en-US" dirty="0">
            <a:solidFill>
              <a:schemeClr val="tx1"/>
            </a:solidFill>
          </a:endParaRPr>
        </a:p>
      </dgm:t>
    </dgm:pt>
    <dgm:pt modelId="{6BB34FF6-34D1-4EF7-AEE0-BA1E3C53EA33}" type="parTrans" cxnId="{F4574037-0FF1-4F7A-8060-ECBFE413E4D9}">
      <dgm:prSet/>
      <dgm:spPr/>
      <dgm:t>
        <a:bodyPr/>
        <a:lstStyle/>
        <a:p>
          <a:endParaRPr lang="en-US"/>
        </a:p>
      </dgm:t>
    </dgm:pt>
    <dgm:pt modelId="{22852283-194F-4801-B2A9-91ED470DFF2D}" type="sibTrans" cxnId="{F4574037-0FF1-4F7A-8060-ECBFE413E4D9}">
      <dgm:prSet/>
      <dgm:spPr/>
      <dgm:t>
        <a:bodyPr/>
        <a:lstStyle/>
        <a:p>
          <a:endParaRPr lang="en-US"/>
        </a:p>
      </dgm:t>
    </dgm:pt>
    <dgm:pt modelId="{4B91CD7A-9178-4D8F-8631-88570D599AC1}">
      <dgm:prSet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Sérotonine</a:t>
          </a:r>
          <a:endParaRPr lang="en-US" dirty="0">
            <a:solidFill>
              <a:schemeClr val="tx1"/>
            </a:solidFill>
          </a:endParaRPr>
        </a:p>
      </dgm:t>
    </dgm:pt>
    <dgm:pt modelId="{E2461A8C-813D-4EDB-9CC3-621D906C2B7B}" type="parTrans" cxnId="{8F5F46E6-B9EA-4CC5-B736-EDD42CFA61AE}">
      <dgm:prSet/>
      <dgm:spPr/>
      <dgm:t>
        <a:bodyPr/>
        <a:lstStyle/>
        <a:p>
          <a:endParaRPr lang="en-US"/>
        </a:p>
      </dgm:t>
    </dgm:pt>
    <dgm:pt modelId="{06BD03B5-6AEF-4BEF-B095-9971A6F9310D}" type="sibTrans" cxnId="{8F5F46E6-B9EA-4CC5-B736-EDD42CFA61AE}">
      <dgm:prSet/>
      <dgm:spPr/>
      <dgm:t>
        <a:bodyPr/>
        <a:lstStyle/>
        <a:p>
          <a:endParaRPr lang="en-US"/>
        </a:p>
      </dgm:t>
    </dgm:pt>
    <dgm:pt modelId="{EC1AF839-6B4D-4288-AD6B-C998A67EAFFF}">
      <dgm:prSet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Immunité</a:t>
          </a:r>
          <a:endParaRPr lang="en-US" dirty="0">
            <a:solidFill>
              <a:schemeClr val="tx1"/>
            </a:solidFill>
          </a:endParaRPr>
        </a:p>
      </dgm:t>
    </dgm:pt>
    <dgm:pt modelId="{E9BE2E1A-618A-4362-B6CF-F4CB15A81782}" type="parTrans" cxnId="{B6438B6C-03A5-482C-8D25-30D67D7C5AD3}">
      <dgm:prSet/>
      <dgm:spPr/>
      <dgm:t>
        <a:bodyPr/>
        <a:lstStyle/>
        <a:p>
          <a:endParaRPr lang="en-US"/>
        </a:p>
      </dgm:t>
    </dgm:pt>
    <dgm:pt modelId="{5C79F2F4-AB6F-4F0F-AAFE-D1DB36730026}" type="sibTrans" cxnId="{B6438B6C-03A5-482C-8D25-30D67D7C5AD3}">
      <dgm:prSet/>
      <dgm:spPr/>
      <dgm:t>
        <a:bodyPr/>
        <a:lstStyle/>
        <a:p>
          <a:endParaRPr lang="en-US"/>
        </a:p>
      </dgm:t>
    </dgm:pt>
    <dgm:pt modelId="{8972BD9F-3DEC-4ADE-B92B-AA7095A88D1B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Stress</a:t>
          </a:r>
        </a:p>
      </dgm:t>
    </dgm:pt>
    <dgm:pt modelId="{6C4E21A8-3C66-4CC3-8BB1-BAD02B7B975C}" type="parTrans" cxnId="{A9269472-DE27-42F2-A790-319B0B7A53B6}">
      <dgm:prSet/>
      <dgm:spPr/>
      <dgm:t>
        <a:bodyPr/>
        <a:lstStyle/>
        <a:p>
          <a:endParaRPr lang="en-US"/>
        </a:p>
      </dgm:t>
    </dgm:pt>
    <dgm:pt modelId="{794E9391-FAC3-49CE-8394-61AEF15D1EE8}" type="sibTrans" cxnId="{A9269472-DE27-42F2-A790-319B0B7A53B6}">
      <dgm:prSet/>
      <dgm:spPr/>
      <dgm:t>
        <a:bodyPr/>
        <a:lstStyle/>
        <a:p>
          <a:endParaRPr lang="en-US"/>
        </a:p>
      </dgm:t>
    </dgm:pt>
    <dgm:pt modelId="{EF268FBD-7C5F-4D56-9D51-296C1E3DB018}">
      <dgm:prSet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Cerveau</a:t>
          </a:r>
          <a:endParaRPr lang="en-US" dirty="0">
            <a:solidFill>
              <a:schemeClr val="tx1"/>
            </a:solidFill>
          </a:endParaRPr>
        </a:p>
      </dgm:t>
    </dgm:pt>
    <dgm:pt modelId="{F6619F1D-5AFE-4145-845F-6DE79A5AD7D3}" type="parTrans" cxnId="{60683163-ACB9-45FB-A122-0184DFDCCC21}">
      <dgm:prSet/>
      <dgm:spPr/>
      <dgm:t>
        <a:bodyPr/>
        <a:lstStyle/>
        <a:p>
          <a:endParaRPr lang="en-US"/>
        </a:p>
      </dgm:t>
    </dgm:pt>
    <dgm:pt modelId="{74C6E60E-D51E-472C-AD1A-C5FFB6D4FBAE}" type="sibTrans" cxnId="{60683163-ACB9-45FB-A122-0184DFDCCC21}">
      <dgm:prSet/>
      <dgm:spPr/>
      <dgm:t>
        <a:bodyPr/>
        <a:lstStyle/>
        <a:p>
          <a:endParaRPr lang="en-US"/>
        </a:p>
      </dgm:t>
    </dgm:pt>
    <dgm:pt modelId="{B7399438-84AF-4B2B-B0D0-E29C46DCB299}">
      <dgm:prSet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Vieillissement</a:t>
          </a:r>
          <a:endParaRPr lang="en-US" dirty="0">
            <a:solidFill>
              <a:schemeClr val="tx1"/>
            </a:solidFill>
          </a:endParaRPr>
        </a:p>
      </dgm:t>
    </dgm:pt>
    <dgm:pt modelId="{9083174B-04D8-430C-8B2F-8150C167B539}" type="parTrans" cxnId="{1C7ABB94-9C0D-46CF-942A-DEE40A01AF48}">
      <dgm:prSet/>
      <dgm:spPr/>
      <dgm:t>
        <a:bodyPr/>
        <a:lstStyle/>
        <a:p>
          <a:endParaRPr lang="en-US"/>
        </a:p>
      </dgm:t>
    </dgm:pt>
    <dgm:pt modelId="{80DE1332-AF66-4C78-813C-5AF20A22F4EF}" type="sibTrans" cxnId="{1C7ABB94-9C0D-46CF-942A-DEE40A01AF48}">
      <dgm:prSet/>
      <dgm:spPr/>
      <dgm:t>
        <a:bodyPr/>
        <a:lstStyle/>
        <a:p>
          <a:endParaRPr lang="en-US"/>
        </a:p>
      </dgm:t>
    </dgm:pt>
    <dgm:pt modelId="{9E63F966-389D-4F4E-88C3-728184EE92E9}">
      <dgm:prSet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Os</a:t>
          </a:r>
          <a:endParaRPr lang="en-US" dirty="0">
            <a:solidFill>
              <a:schemeClr val="tx1"/>
            </a:solidFill>
          </a:endParaRPr>
        </a:p>
      </dgm:t>
    </dgm:pt>
    <dgm:pt modelId="{C183DA2B-B5D8-43E3-9768-1FE37EFEF74D}" type="parTrans" cxnId="{B2ECF58A-47C6-411B-BB3C-3DFED2D7630C}">
      <dgm:prSet/>
      <dgm:spPr/>
      <dgm:t>
        <a:bodyPr/>
        <a:lstStyle/>
        <a:p>
          <a:endParaRPr lang="en-US"/>
        </a:p>
      </dgm:t>
    </dgm:pt>
    <dgm:pt modelId="{E9D0F1F5-7210-459C-8818-E30E1EF830A4}" type="sibTrans" cxnId="{B2ECF58A-47C6-411B-BB3C-3DFED2D7630C}">
      <dgm:prSet/>
      <dgm:spPr/>
      <dgm:t>
        <a:bodyPr/>
        <a:lstStyle/>
        <a:p>
          <a:endParaRPr lang="en-US"/>
        </a:p>
      </dgm:t>
    </dgm:pt>
    <dgm:pt modelId="{B40A819D-9F2B-404B-9997-997A723F8AE7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Glucose</a:t>
          </a:r>
        </a:p>
      </dgm:t>
    </dgm:pt>
    <dgm:pt modelId="{F95396FB-AF9A-4626-9220-579D8F37F914}" type="parTrans" cxnId="{FE8B26DA-4365-4B4C-B363-154CEB549DA2}">
      <dgm:prSet/>
      <dgm:spPr/>
      <dgm:t>
        <a:bodyPr/>
        <a:lstStyle/>
        <a:p>
          <a:endParaRPr lang="en-US"/>
        </a:p>
      </dgm:t>
    </dgm:pt>
    <dgm:pt modelId="{87C96A5C-0508-4F57-A0EB-3FD1500BDE78}" type="sibTrans" cxnId="{FE8B26DA-4365-4B4C-B363-154CEB549DA2}">
      <dgm:prSet/>
      <dgm:spPr/>
      <dgm:t>
        <a:bodyPr/>
        <a:lstStyle/>
        <a:p>
          <a:endParaRPr lang="en-US"/>
        </a:p>
      </dgm:t>
    </dgm:pt>
    <dgm:pt modelId="{D557F6A1-8A97-40D5-AD36-031D81F8A762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Digestion</a:t>
          </a:r>
        </a:p>
      </dgm:t>
    </dgm:pt>
    <dgm:pt modelId="{F892D748-6005-4F89-98C1-3382D40BD2F8}" type="parTrans" cxnId="{98776834-3ABF-4454-9D21-604B8E606225}">
      <dgm:prSet/>
      <dgm:spPr/>
      <dgm:t>
        <a:bodyPr/>
        <a:lstStyle/>
        <a:p>
          <a:endParaRPr lang="en-US"/>
        </a:p>
      </dgm:t>
    </dgm:pt>
    <dgm:pt modelId="{AF936015-64EF-4D9E-BB25-911EB89F8BB7}" type="sibTrans" cxnId="{98776834-3ABF-4454-9D21-604B8E606225}">
      <dgm:prSet/>
      <dgm:spPr/>
      <dgm:t>
        <a:bodyPr/>
        <a:lstStyle/>
        <a:p>
          <a:endParaRPr lang="en-US"/>
        </a:p>
      </dgm:t>
    </dgm:pt>
    <dgm:pt modelId="{2A27833D-7B41-49C7-8FAC-62598A762697}">
      <dgm:prSet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Cœur</a:t>
          </a:r>
          <a:endParaRPr lang="en-US" dirty="0">
            <a:solidFill>
              <a:schemeClr val="tx1"/>
            </a:solidFill>
          </a:endParaRPr>
        </a:p>
      </dgm:t>
    </dgm:pt>
    <dgm:pt modelId="{F0B0F912-BFFB-49BF-AC82-6F0FE8E1B14D}" type="parTrans" cxnId="{8601556E-4B73-49F3-9978-7B098D3255BA}">
      <dgm:prSet/>
      <dgm:spPr/>
      <dgm:t>
        <a:bodyPr/>
        <a:lstStyle/>
        <a:p>
          <a:endParaRPr lang="en-US"/>
        </a:p>
      </dgm:t>
    </dgm:pt>
    <dgm:pt modelId="{4FC302D4-2D94-4B07-A616-BB7EBE1E85E9}" type="sibTrans" cxnId="{8601556E-4B73-49F3-9978-7B098D3255BA}">
      <dgm:prSet/>
      <dgm:spPr/>
      <dgm:t>
        <a:bodyPr/>
        <a:lstStyle/>
        <a:p>
          <a:endParaRPr lang="en-US"/>
        </a:p>
      </dgm:t>
    </dgm:pt>
    <dgm:pt modelId="{F467CFB0-3EAC-4802-9B08-F0E6E14127F5}">
      <dgm:prSet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Poumons</a:t>
          </a:r>
          <a:endParaRPr lang="en-US" dirty="0">
            <a:solidFill>
              <a:schemeClr val="tx1"/>
            </a:solidFill>
          </a:endParaRPr>
        </a:p>
      </dgm:t>
    </dgm:pt>
    <dgm:pt modelId="{885AAF74-CA7D-4FE4-AD8C-59977245EBC5}" type="parTrans" cxnId="{6D8A10AB-B3D4-44FC-A9F4-8A603D7847D7}">
      <dgm:prSet/>
      <dgm:spPr/>
      <dgm:t>
        <a:bodyPr/>
        <a:lstStyle/>
        <a:p>
          <a:endParaRPr lang="en-US"/>
        </a:p>
      </dgm:t>
    </dgm:pt>
    <dgm:pt modelId="{BA06DC5C-C4EA-4DAA-8D04-A8642202BE09}" type="sibTrans" cxnId="{6D8A10AB-B3D4-44FC-A9F4-8A603D7847D7}">
      <dgm:prSet/>
      <dgm:spPr/>
      <dgm:t>
        <a:bodyPr/>
        <a:lstStyle/>
        <a:p>
          <a:endParaRPr lang="en-US"/>
        </a:p>
      </dgm:t>
    </dgm:pt>
    <dgm:pt modelId="{AB63E4AD-13DD-4D66-8AE1-3A1F2D2CDF55}">
      <dgm:prSet/>
      <dgm:spPr/>
      <dgm:t>
        <a:bodyPr/>
        <a:lstStyle/>
        <a:p>
          <a:r>
            <a:rPr lang="en-US">
              <a:solidFill>
                <a:schemeClr val="tx1"/>
              </a:solidFill>
            </a:rPr>
            <a:t>Cancer</a:t>
          </a:r>
        </a:p>
      </dgm:t>
    </dgm:pt>
    <dgm:pt modelId="{6B131B7F-8022-4AD1-B253-8E418DB15C7A}" type="parTrans" cxnId="{DA1D8AFA-430E-4EEA-9E13-36DB08D01000}">
      <dgm:prSet/>
      <dgm:spPr/>
      <dgm:t>
        <a:bodyPr/>
        <a:lstStyle/>
        <a:p>
          <a:endParaRPr lang="en-US"/>
        </a:p>
      </dgm:t>
    </dgm:pt>
    <dgm:pt modelId="{36E1DDF4-316C-4313-A4D1-FD1A91070B5C}" type="sibTrans" cxnId="{DA1D8AFA-430E-4EEA-9E13-36DB08D01000}">
      <dgm:prSet/>
      <dgm:spPr/>
      <dgm:t>
        <a:bodyPr/>
        <a:lstStyle/>
        <a:p>
          <a:endParaRPr lang="en-US"/>
        </a:p>
      </dgm:t>
    </dgm:pt>
    <dgm:pt modelId="{0C9B0EFB-6689-4BC6-AE99-2C859A75CEC4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Social</a:t>
          </a:r>
        </a:p>
      </dgm:t>
    </dgm:pt>
    <dgm:pt modelId="{DF30F705-EA2B-4B8D-BF89-DF4982F06B7E}" type="parTrans" cxnId="{F9EA8DAF-6637-4A76-B45D-4DBC5BCEC73B}">
      <dgm:prSet/>
      <dgm:spPr/>
      <dgm:t>
        <a:bodyPr/>
        <a:lstStyle/>
        <a:p>
          <a:endParaRPr lang="en-US"/>
        </a:p>
      </dgm:t>
    </dgm:pt>
    <dgm:pt modelId="{51059007-D16B-411D-BB09-44BCD90B6374}" type="sibTrans" cxnId="{F9EA8DAF-6637-4A76-B45D-4DBC5BCEC73B}">
      <dgm:prSet/>
      <dgm:spPr/>
      <dgm:t>
        <a:bodyPr/>
        <a:lstStyle/>
        <a:p>
          <a:endParaRPr lang="en-US"/>
        </a:p>
      </dgm:t>
    </dgm:pt>
    <dgm:pt modelId="{6AFE318B-9E5D-41CE-889A-023D14EE9B00}">
      <dgm:prSet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Sommeil</a:t>
          </a:r>
          <a:endParaRPr lang="en-US" dirty="0">
            <a:solidFill>
              <a:schemeClr val="tx1"/>
            </a:solidFill>
          </a:endParaRPr>
        </a:p>
      </dgm:t>
    </dgm:pt>
    <dgm:pt modelId="{A48E3C44-22CE-4B9E-973D-545547C6B25E}" type="parTrans" cxnId="{A80A58B2-9A84-44D0-983B-9EF5E403E486}">
      <dgm:prSet/>
      <dgm:spPr/>
      <dgm:t>
        <a:bodyPr/>
        <a:lstStyle/>
        <a:p>
          <a:endParaRPr lang="en-US"/>
        </a:p>
      </dgm:t>
    </dgm:pt>
    <dgm:pt modelId="{5771F155-B6BF-4C6E-B258-DA7972150A48}" type="sibTrans" cxnId="{A80A58B2-9A84-44D0-983B-9EF5E403E486}">
      <dgm:prSet/>
      <dgm:spPr/>
      <dgm:t>
        <a:bodyPr/>
        <a:lstStyle/>
        <a:p>
          <a:endParaRPr lang="en-US"/>
        </a:p>
      </dgm:t>
    </dgm:pt>
    <dgm:pt modelId="{20186B15-FD37-4E2A-A660-DB1859DBBF19}">
      <dgm:prSet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Toutes</a:t>
          </a:r>
          <a:r>
            <a:rPr lang="en-US" dirty="0">
              <a:solidFill>
                <a:schemeClr val="tx1"/>
              </a:solidFill>
            </a:rPr>
            <a:t> les maladies</a:t>
          </a:r>
        </a:p>
      </dgm:t>
    </dgm:pt>
    <dgm:pt modelId="{2BDB16E9-0B60-49B6-9735-D65176E5AB58}" type="parTrans" cxnId="{8B8FF8EB-2DB3-4DA1-A80A-4BE9D41A4FBC}">
      <dgm:prSet/>
      <dgm:spPr/>
      <dgm:t>
        <a:bodyPr/>
        <a:lstStyle/>
        <a:p>
          <a:endParaRPr lang="en-US"/>
        </a:p>
      </dgm:t>
    </dgm:pt>
    <dgm:pt modelId="{4FDE97D4-BAD0-4E37-8157-845F24A0AAF4}" type="sibTrans" cxnId="{8B8FF8EB-2DB3-4DA1-A80A-4BE9D41A4FBC}">
      <dgm:prSet/>
      <dgm:spPr/>
      <dgm:t>
        <a:bodyPr/>
        <a:lstStyle/>
        <a:p>
          <a:endParaRPr lang="en-US"/>
        </a:p>
      </dgm:t>
    </dgm:pt>
    <dgm:pt modelId="{3F6D0AAD-83F9-4989-AF0D-77DCD03C6F2C}">
      <dgm:prSet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Peau</a:t>
          </a:r>
          <a:endParaRPr lang="en-US" dirty="0">
            <a:solidFill>
              <a:schemeClr val="tx1"/>
            </a:solidFill>
          </a:endParaRPr>
        </a:p>
      </dgm:t>
    </dgm:pt>
    <dgm:pt modelId="{4FCAD96F-51F5-4D80-B55C-8F21955FE4A8}" type="parTrans" cxnId="{7D64C84C-2E51-4DC0-BAD7-916C196BD27B}">
      <dgm:prSet/>
      <dgm:spPr/>
      <dgm:t>
        <a:bodyPr/>
        <a:lstStyle/>
        <a:p>
          <a:endParaRPr lang="en-US"/>
        </a:p>
      </dgm:t>
    </dgm:pt>
    <dgm:pt modelId="{7BAE83CA-DD7C-439C-A697-6820ABFB4B24}" type="sibTrans" cxnId="{7D64C84C-2E51-4DC0-BAD7-916C196BD27B}">
      <dgm:prSet/>
      <dgm:spPr/>
      <dgm:t>
        <a:bodyPr/>
        <a:lstStyle/>
        <a:p>
          <a:endParaRPr lang="en-US"/>
        </a:p>
      </dgm:t>
    </dgm:pt>
    <dgm:pt modelId="{899605C4-07E7-43F8-B1F6-CD7B529E20BF}">
      <dgm:prSet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Humeur</a:t>
          </a:r>
          <a:endParaRPr lang="en-US" dirty="0">
            <a:solidFill>
              <a:schemeClr val="tx1"/>
            </a:solidFill>
          </a:endParaRPr>
        </a:p>
      </dgm:t>
    </dgm:pt>
    <dgm:pt modelId="{18501780-62F1-4E70-B91B-492C74626E47}" type="parTrans" cxnId="{0F0FC184-B42F-49A0-ADB3-8282EF74141C}">
      <dgm:prSet/>
      <dgm:spPr/>
      <dgm:t>
        <a:bodyPr/>
        <a:lstStyle/>
        <a:p>
          <a:endParaRPr lang="en-US"/>
        </a:p>
      </dgm:t>
    </dgm:pt>
    <dgm:pt modelId="{B461F816-17FE-4D4D-963C-AB14FBB9032B}" type="sibTrans" cxnId="{0F0FC184-B42F-49A0-ADB3-8282EF74141C}">
      <dgm:prSet/>
      <dgm:spPr/>
      <dgm:t>
        <a:bodyPr/>
        <a:lstStyle/>
        <a:p>
          <a:endParaRPr lang="en-US"/>
        </a:p>
      </dgm:t>
    </dgm:pt>
    <dgm:pt modelId="{8DEB0339-76B7-41BB-917F-36116F6CBD8D}">
      <dgm:prSet/>
      <dgm:spPr/>
      <dgm:t>
        <a:bodyPr/>
        <a:lstStyle/>
        <a:p>
          <a:r>
            <a:rPr lang="en-US">
              <a:solidFill>
                <a:schemeClr val="tx1"/>
              </a:solidFill>
            </a:rPr>
            <a:t>Focus</a:t>
          </a:r>
        </a:p>
      </dgm:t>
    </dgm:pt>
    <dgm:pt modelId="{FEC3F3CE-80C5-4729-A8CE-6639EAB9D3EC}" type="parTrans" cxnId="{B4813AB5-A4D1-4007-8279-0048A5D59DD8}">
      <dgm:prSet/>
      <dgm:spPr/>
      <dgm:t>
        <a:bodyPr/>
        <a:lstStyle/>
        <a:p>
          <a:endParaRPr lang="en-US"/>
        </a:p>
      </dgm:t>
    </dgm:pt>
    <dgm:pt modelId="{65CE8551-579E-46FC-A29F-2EC4A3B615D5}" type="sibTrans" cxnId="{B4813AB5-A4D1-4007-8279-0048A5D59DD8}">
      <dgm:prSet/>
      <dgm:spPr/>
      <dgm:t>
        <a:bodyPr/>
        <a:lstStyle/>
        <a:p>
          <a:endParaRPr lang="en-US"/>
        </a:p>
      </dgm:t>
    </dgm:pt>
    <dgm:pt modelId="{1BDCB26A-2003-4F5B-90C4-B3C5CB6BF283}">
      <dgm:prSet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Métabolisme</a:t>
          </a:r>
          <a:endParaRPr lang="en-US" dirty="0">
            <a:solidFill>
              <a:schemeClr val="tx1"/>
            </a:solidFill>
          </a:endParaRPr>
        </a:p>
      </dgm:t>
    </dgm:pt>
    <dgm:pt modelId="{96A08787-57C2-4E4D-9926-85563EB9AF75}" type="parTrans" cxnId="{C91B39EB-18C0-4B97-8EC7-DB506429F4B4}">
      <dgm:prSet/>
      <dgm:spPr/>
      <dgm:t>
        <a:bodyPr/>
        <a:lstStyle/>
        <a:p>
          <a:endParaRPr lang="en-US"/>
        </a:p>
      </dgm:t>
    </dgm:pt>
    <dgm:pt modelId="{DF1ACEFD-FD24-441D-A3E0-61092D9B5D82}" type="sibTrans" cxnId="{C91B39EB-18C0-4B97-8EC7-DB506429F4B4}">
      <dgm:prSet/>
      <dgm:spPr/>
      <dgm:t>
        <a:bodyPr/>
        <a:lstStyle/>
        <a:p>
          <a:endParaRPr lang="en-US"/>
        </a:p>
      </dgm:t>
    </dgm:pt>
    <dgm:pt modelId="{6721222D-DB0E-477E-9FDB-D26552C743EF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Muscles</a:t>
          </a:r>
        </a:p>
      </dgm:t>
    </dgm:pt>
    <dgm:pt modelId="{FF8DDE6F-48BF-40FB-A9AF-BE118338C7BD}" type="parTrans" cxnId="{EDD5E621-6A1D-45CF-977B-7112E2397F58}">
      <dgm:prSet/>
      <dgm:spPr/>
      <dgm:t>
        <a:bodyPr/>
        <a:lstStyle/>
        <a:p>
          <a:endParaRPr lang="en-US"/>
        </a:p>
      </dgm:t>
    </dgm:pt>
    <dgm:pt modelId="{8C4646DF-91B3-47F4-AC78-2BE8249CA404}" type="sibTrans" cxnId="{EDD5E621-6A1D-45CF-977B-7112E2397F58}">
      <dgm:prSet/>
      <dgm:spPr/>
      <dgm:t>
        <a:bodyPr/>
        <a:lstStyle/>
        <a:p>
          <a:endParaRPr lang="en-US"/>
        </a:p>
      </dgm:t>
    </dgm:pt>
    <dgm:pt modelId="{9454C0A4-1CAC-4238-97CE-AB68E36394F4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Amusement!</a:t>
          </a:r>
        </a:p>
      </dgm:t>
    </dgm:pt>
    <dgm:pt modelId="{84D46E3E-4521-4DA9-AEC3-F41570B9BA60}" type="parTrans" cxnId="{7A43FFBB-518A-4D5A-B2F8-CD42D42B821A}">
      <dgm:prSet/>
      <dgm:spPr/>
      <dgm:t>
        <a:bodyPr/>
        <a:lstStyle/>
        <a:p>
          <a:endParaRPr lang="en-US"/>
        </a:p>
      </dgm:t>
    </dgm:pt>
    <dgm:pt modelId="{D00FE690-FB70-43DC-865F-2895008D6D4B}" type="sibTrans" cxnId="{7A43FFBB-518A-4D5A-B2F8-CD42D42B821A}">
      <dgm:prSet/>
      <dgm:spPr/>
      <dgm:t>
        <a:bodyPr/>
        <a:lstStyle/>
        <a:p>
          <a:endParaRPr lang="en-US"/>
        </a:p>
      </dgm:t>
    </dgm:pt>
    <dgm:pt modelId="{9F7A3198-B8D9-4533-A5F4-C193DFB18BB3}">
      <dgm:prSet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Yeux</a:t>
          </a:r>
        </a:p>
      </dgm:t>
    </dgm:pt>
    <dgm:pt modelId="{1E4936A3-2DB9-4399-80CA-FFB722E7F184}" type="parTrans" cxnId="{53A500AA-4EF7-4568-A22C-42EE35C73156}">
      <dgm:prSet/>
      <dgm:spPr/>
      <dgm:t>
        <a:bodyPr/>
        <a:lstStyle/>
        <a:p>
          <a:endParaRPr lang="en-US"/>
        </a:p>
      </dgm:t>
    </dgm:pt>
    <dgm:pt modelId="{85EDAC62-8464-4900-83D5-39179CDD5866}" type="sibTrans" cxnId="{53A500AA-4EF7-4568-A22C-42EE35C73156}">
      <dgm:prSet/>
      <dgm:spPr/>
      <dgm:t>
        <a:bodyPr/>
        <a:lstStyle/>
        <a:p>
          <a:endParaRPr lang="en-US"/>
        </a:p>
      </dgm:t>
    </dgm:pt>
    <dgm:pt modelId="{06CB04AD-9A3F-5940-B7E1-2781CCE850E4}" type="pres">
      <dgm:prSet presAssocID="{FACEA9E7-BB0D-45B8-B296-98690ABE89A2}" presName="diagram" presStyleCnt="0">
        <dgm:presLayoutVars>
          <dgm:dir/>
          <dgm:resizeHandles val="exact"/>
        </dgm:presLayoutVars>
      </dgm:prSet>
      <dgm:spPr/>
    </dgm:pt>
    <dgm:pt modelId="{F294BE86-C01C-674E-852B-CBC32553E6E0}" type="pres">
      <dgm:prSet presAssocID="{D06A6F01-C0AB-456E-83B5-1D4E75754ECD}" presName="node" presStyleLbl="node1" presStyleIdx="0" presStyleCnt="23">
        <dgm:presLayoutVars>
          <dgm:bulletEnabled val="1"/>
        </dgm:presLayoutVars>
      </dgm:prSet>
      <dgm:spPr/>
    </dgm:pt>
    <dgm:pt modelId="{4FA9B8F4-9F33-FB47-B06F-178DB103B8BB}" type="pres">
      <dgm:prSet presAssocID="{629414EE-36A4-4CE3-9355-D8CF15B8327E}" presName="sibTrans" presStyleCnt="0"/>
      <dgm:spPr/>
    </dgm:pt>
    <dgm:pt modelId="{8B0A698B-9F7A-3243-95BA-3AAF2F0B10EC}" type="pres">
      <dgm:prSet presAssocID="{90990ADA-B8DD-4B25-B517-DBF27DAD97D0}" presName="node" presStyleLbl="node1" presStyleIdx="1" presStyleCnt="23">
        <dgm:presLayoutVars>
          <dgm:bulletEnabled val="1"/>
        </dgm:presLayoutVars>
      </dgm:prSet>
      <dgm:spPr/>
    </dgm:pt>
    <dgm:pt modelId="{5F43A15D-7638-264E-85F9-11910ADD6788}" type="pres">
      <dgm:prSet presAssocID="{22852283-194F-4801-B2A9-91ED470DFF2D}" presName="sibTrans" presStyleCnt="0"/>
      <dgm:spPr/>
    </dgm:pt>
    <dgm:pt modelId="{6F881CFB-9E95-9E48-839A-FBD31B34838E}" type="pres">
      <dgm:prSet presAssocID="{4B91CD7A-9178-4D8F-8631-88570D599AC1}" presName="node" presStyleLbl="node1" presStyleIdx="2" presStyleCnt="23">
        <dgm:presLayoutVars>
          <dgm:bulletEnabled val="1"/>
        </dgm:presLayoutVars>
      </dgm:prSet>
      <dgm:spPr/>
    </dgm:pt>
    <dgm:pt modelId="{358E1F74-0742-7C4D-BB7F-6A371A39CD34}" type="pres">
      <dgm:prSet presAssocID="{06BD03B5-6AEF-4BEF-B095-9971A6F9310D}" presName="sibTrans" presStyleCnt="0"/>
      <dgm:spPr/>
    </dgm:pt>
    <dgm:pt modelId="{4355C52C-828C-4344-AC02-7A54C6272225}" type="pres">
      <dgm:prSet presAssocID="{EC1AF839-6B4D-4288-AD6B-C998A67EAFFF}" presName="node" presStyleLbl="node1" presStyleIdx="3" presStyleCnt="23">
        <dgm:presLayoutVars>
          <dgm:bulletEnabled val="1"/>
        </dgm:presLayoutVars>
      </dgm:prSet>
      <dgm:spPr/>
    </dgm:pt>
    <dgm:pt modelId="{296D3616-B577-E74F-A461-3CE86757FA55}" type="pres">
      <dgm:prSet presAssocID="{5C79F2F4-AB6F-4F0F-AAFE-D1DB36730026}" presName="sibTrans" presStyleCnt="0"/>
      <dgm:spPr/>
    </dgm:pt>
    <dgm:pt modelId="{B71E6B68-5394-1A47-B2DB-ADEA260622CA}" type="pres">
      <dgm:prSet presAssocID="{8972BD9F-3DEC-4ADE-B92B-AA7095A88D1B}" presName="node" presStyleLbl="node1" presStyleIdx="4" presStyleCnt="23">
        <dgm:presLayoutVars>
          <dgm:bulletEnabled val="1"/>
        </dgm:presLayoutVars>
      </dgm:prSet>
      <dgm:spPr/>
    </dgm:pt>
    <dgm:pt modelId="{2993A684-92A0-C145-B36A-3B7DE80F447E}" type="pres">
      <dgm:prSet presAssocID="{794E9391-FAC3-49CE-8394-61AEF15D1EE8}" presName="sibTrans" presStyleCnt="0"/>
      <dgm:spPr/>
    </dgm:pt>
    <dgm:pt modelId="{109765A9-ECC4-484C-A5D4-4466A898195C}" type="pres">
      <dgm:prSet presAssocID="{6AFE318B-9E5D-41CE-889A-023D14EE9B00}" presName="node" presStyleLbl="node1" presStyleIdx="5" presStyleCnt="23">
        <dgm:presLayoutVars>
          <dgm:bulletEnabled val="1"/>
        </dgm:presLayoutVars>
      </dgm:prSet>
      <dgm:spPr/>
    </dgm:pt>
    <dgm:pt modelId="{BB55005D-A4B4-6C4B-AAD1-E0BB043B1963}" type="pres">
      <dgm:prSet presAssocID="{5771F155-B6BF-4C6E-B258-DA7972150A48}" presName="sibTrans" presStyleCnt="0"/>
      <dgm:spPr/>
    </dgm:pt>
    <dgm:pt modelId="{0D54B71C-AD03-9F48-B3C6-33C5A53BCA8A}" type="pres">
      <dgm:prSet presAssocID="{899605C4-07E7-43F8-B1F6-CD7B529E20BF}" presName="node" presStyleLbl="node1" presStyleIdx="6" presStyleCnt="23">
        <dgm:presLayoutVars>
          <dgm:bulletEnabled val="1"/>
        </dgm:presLayoutVars>
      </dgm:prSet>
      <dgm:spPr/>
    </dgm:pt>
    <dgm:pt modelId="{4ADA9AD3-5C76-FA44-BF1B-6FC6809A5D1F}" type="pres">
      <dgm:prSet presAssocID="{B461F816-17FE-4D4D-963C-AB14FBB9032B}" presName="sibTrans" presStyleCnt="0"/>
      <dgm:spPr/>
    </dgm:pt>
    <dgm:pt modelId="{6ECFD0F3-03FA-E642-95D1-7EBE6572A230}" type="pres">
      <dgm:prSet presAssocID="{20186B15-FD37-4E2A-A660-DB1859DBBF19}" presName="node" presStyleLbl="node1" presStyleIdx="7" presStyleCnt="23">
        <dgm:presLayoutVars>
          <dgm:bulletEnabled val="1"/>
        </dgm:presLayoutVars>
      </dgm:prSet>
      <dgm:spPr/>
    </dgm:pt>
    <dgm:pt modelId="{ED74BE9A-0488-604D-83C8-F512A44B38E7}" type="pres">
      <dgm:prSet presAssocID="{4FDE97D4-BAD0-4E37-8157-845F24A0AAF4}" presName="sibTrans" presStyleCnt="0"/>
      <dgm:spPr/>
    </dgm:pt>
    <dgm:pt modelId="{88F713F3-E202-DB4E-8DE6-4FA0367A828E}" type="pres">
      <dgm:prSet presAssocID="{EF268FBD-7C5F-4D56-9D51-296C1E3DB018}" presName="node" presStyleLbl="node1" presStyleIdx="8" presStyleCnt="23">
        <dgm:presLayoutVars>
          <dgm:bulletEnabled val="1"/>
        </dgm:presLayoutVars>
      </dgm:prSet>
      <dgm:spPr/>
    </dgm:pt>
    <dgm:pt modelId="{3D8DF478-2296-2B4E-84A4-05A13247859F}" type="pres">
      <dgm:prSet presAssocID="{74C6E60E-D51E-472C-AD1A-C5FFB6D4FBAE}" presName="sibTrans" presStyleCnt="0"/>
      <dgm:spPr/>
    </dgm:pt>
    <dgm:pt modelId="{EB4B0E75-0D46-9A49-945A-F927D277C121}" type="pres">
      <dgm:prSet presAssocID="{8DEB0339-76B7-41BB-917F-36116F6CBD8D}" presName="node" presStyleLbl="node1" presStyleIdx="9" presStyleCnt="23">
        <dgm:presLayoutVars>
          <dgm:bulletEnabled val="1"/>
        </dgm:presLayoutVars>
      </dgm:prSet>
      <dgm:spPr/>
    </dgm:pt>
    <dgm:pt modelId="{AB417145-1CA0-1645-8808-A6B75E8B7D95}" type="pres">
      <dgm:prSet presAssocID="{65CE8551-579E-46FC-A29F-2EC4A3B615D5}" presName="sibTrans" presStyleCnt="0"/>
      <dgm:spPr/>
    </dgm:pt>
    <dgm:pt modelId="{C6FFD799-F9E1-1741-AD23-F8154E7D0627}" type="pres">
      <dgm:prSet presAssocID="{1BDCB26A-2003-4F5B-90C4-B3C5CB6BF283}" presName="node" presStyleLbl="node1" presStyleIdx="10" presStyleCnt="23">
        <dgm:presLayoutVars>
          <dgm:bulletEnabled val="1"/>
        </dgm:presLayoutVars>
      </dgm:prSet>
      <dgm:spPr/>
    </dgm:pt>
    <dgm:pt modelId="{B07DFE50-5223-7241-9153-BADB030818BA}" type="pres">
      <dgm:prSet presAssocID="{DF1ACEFD-FD24-441D-A3E0-61092D9B5D82}" presName="sibTrans" presStyleCnt="0"/>
      <dgm:spPr/>
    </dgm:pt>
    <dgm:pt modelId="{FAE9EFE0-B49D-FA47-AD61-D4F6F4C357F9}" type="pres">
      <dgm:prSet presAssocID="{B7399438-84AF-4B2B-B0D0-E29C46DCB299}" presName="node" presStyleLbl="node1" presStyleIdx="11" presStyleCnt="23">
        <dgm:presLayoutVars>
          <dgm:bulletEnabled val="1"/>
        </dgm:presLayoutVars>
      </dgm:prSet>
      <dgm:spPr/>
    </dgm:pt>
    <dgm:pt modelId="{2319B466-13DE-D241-A885-F0408C3123A7}" type="pres">
      <dgm:prSet presAssocID="{80DE1332-AF66-4C78-813C-5AF20A22F4EF}" presName="sibTrans" presStyleCnt="0"/>
      <dgm:spPr/>
    </dgm:pt>
    <dgm:pt modelId="{1C9528AF-B641-0147-8FF5-470A0E983FB0}" type="pres">
      <dgm:prSet presAssocID="{6721222D-DB0E-477E-9FDB-D26552C743EF}" presName="node" presStyleLbl="node1" presStyleIdx="12" presStyleCnt="23">
        <dgm:presLayoutVars>
          <dgm:bulletEnabled val="1"/>
        </dgm:presLayoutVars>
      </dgm:prSet>
      <dgm:spPr/>
    </dgm:pt>
    <dgm:pt modelId="{B3827781-84C0-F244-88B1-868B5D74E898}" type="pres">
      <dgm:prSet presAssocID="{8C4646DF-91B3-47F4-AC78-2BE8249CA404}" presName="sibTrans" presStyleCnt="0"/>
      <dgm:spPr/>
    </dgm:pt>
    <dgm:pt modelId="{1DD63622-80FE-A142-8E77-E7D4E26B8206}" type="pres">
      <dgm:prSet presAssocID="{9E63F966-389D-4F4E-88C3-728184EE92E9}" presName="node" presStyleLbl="node1" presStyleIdx="13" presStyleCnt="23">
        <dgm:presLayoutVars>
          <dgm:bulletEnabled val="1"/>
        </dgm:presLayoutVars>
      </dgm:prSet>
      <dgm:spPr/>
    </dgm:pt>
    <dgm:pt modelId="{DA08C2D9-854C-8A49-A227-DC0CD76151BD}" type="pres">
      <dgm:prSet presAssocID="{E9D0F1F5-7210-459C-8818-E30E1EF830A4}" presName="sibTrans" presStyleCnt="0"/>
      <dgm:spPr/>
    </dgm:pt>
    <dgm:pt modelId="{B61E813F-D356-044B-88F9-37CC3D60E2C4}" type="pres">
      <dgm:prSet presAssocID="{B40A819D-9F2B-404B-9997-997A723F8AE7}" presName="node" presStyleLbl="node1" presStyleIdx="14" presStyleCnt="23">
        <dgm:presLayoutVars>
          <dgm:bulletEnabled val="1"/>
        </dgm:presLayoutVars>
      </dgm:prSet>
      <dgm:spPr/>
    </dgm:pt>
    <dgm:pt modelId="{C4653921-C12D-9A4C-A056-703F3205123C}" type="pres">
      <dgm:prSet presAssocID="{87C96A5C-0508-4F57-A0EB-3FD1500BDE78}" presName="sibTrans" presStyleCnt="0"/>
      <dgm:spPr/>
    </dgm:pt>
    <dgm:pt modelId="{DFA256B6-9D08-AE4D-9339-B0E80F155B36}" type="pres">
      <dgm:prSet presAssocID="{D557F6A1-8A97-40D5-AD36-031D81F8A762}" presName="node" presStyleLbl="node1" presStyleIdx="15" presStyleCnt="23">
        <dgm:presLayoutVars>
          <dgm:bulletEnabled val="1"/>
        </dgm:presLayoutVars>
      </dgm:prSet>
      <dgm:spPr/>
    </dgm:pt>
    <dgm:pt modelId="{E58B9547-40BE-AE4C-A55E-A5FD9068D309}" type="pres">
      <dgm:prSet presAssocID="{AF936015-64EF-4D9E-BB25-911EB89F8BB7}" presName="sibTrans" presStyleCnt="0"/>
      <dgm:spPr/>
    </dgm:pt>
    <dgm:pt modelId="{144CE97E-7DD5-E84C-A829-4C9DC37266C1}" type="pres">
      <dgm:prSet presAssocID="{2A27833D-7B41-49C7-8FAC-62598A762697}" presName="node" presStyleLbl="node1" presStyleIdx="16" presStyleCnt="23">
        <dgm:presLayoutVars>
          <dgm:bulletEnabled val="1"/>
        </dgm:presLayoutVars>
      </dgm:prSet>
      <dgm:spPr/>
    </dgm:pt>
    <dgm:pt modelId="{642E83CF-01D8-7248-A964-D60FC2FC53CC}" type="pres">
      <dgm:prSet presAssocID="{4FC302D4-2D94-4B07-A616-BB7EBE1E85E9}" presName="sibTrans" presStyleCnt="0"/>
      <dgm:spPr/>
    </dgm:pt>
    <dgm:pt modelId="{3C8B1731-C478-0345-8824-1FC75D12BBA9}" type="pres">
      <dgm:prSet presAssocID="{F467CFB0-3EAC-4802-9B08-F0E6E14127F5}" presName="node" presStyleLbl="node1" presStyleIdx="17" presStyleCnt="23">
        <dgm:presLayoutVars>
          <dgm:bulletEnabled val="1"/>
        </dgm:presLayoutVars>
      </dgm:prSet>
      <dgm:spPr/>
    </dgm:pt>
    <dgm:pt modelId="{5BA0C53A-55C2-704A-AA78-829A77C321A1}" type="pres">
      <dgm:prSet presAssocID="{BA06DC5C-C4EA-4DAA-8D04-A8642202BE09}" presName="sibTrans" presStyleCnt="0"/>
      <dgm:spPr/>
    </dgm:pt>
    <dgm:pt modelId="{4D339B24-BDA4-A94E-8D0F-E17814FD4134}" type="pres">
      <dgm:prSet presAssocID="{AB63E4AD-13DD-4D66-8AE1-3A1F2D2CDF55}" presName="node" presStyleLbl="node1" presStyleIdx="18" presStyleCnt="23">
        <dgm:presLayoutVars>
          <dgm:bulletEnabled val="1"/>
        </dgm:presLayoutVars>
      </dgm:prSet>
      <dgm:spPr/>
    </dgm:pt>
    <dgm:pt modelId="{BE8DA6D9-6D83-1E40-AAEA-E1F5A9CC1E6C}" type="pres">
      <dgm:prSet presAssocID="{36E1DDF4-316C-4313-A4D1-FD1A91070B5C}" presName="sibTrans" presStyleCnt="0"/>
      <dgm:spPr/>
    </dgm:pt>
    <dgm:pt modelId="{3616694B-B73C-0C47-963D-91079AD2E7F6}" type="pres">
      <dgm:prSet presAssocID="{3F6D0AAD-83F9-4989-AF0D-77DCD03C6F2C}" presName="node" presStyleLbl="node1" presStyleIdx="19" presStyleCnt="23">
        <dgm:presLayoutVars>
          <dgm:bulletEnabled val="1"/>
        </dgm:presLayoutVars>
      </dgm:prSet>
      <dgm:spPr/>
    </dgm:pt>
    <dgm:pt modelId="{0A495FAF-1E06-B640-9215-7AB18AA49E25}" type="pres">
      <dgm:prSet presAssocID="{7BAE83CA-DD7C-439C-A697-6820ABFB4B24}" presName="sibTrans" presStyleCnt="0"/>
      <dgm:spPr/>
    </dgm:pt>
    <dgm:pt modelId="{64E9434F-BF3E-444B-8CDB-AEB9035547C3}" type="pres">
      <dgm:prSet presAssocID="{9F7A3198-B8D9-4533-A5F4-C193DFB18BB3}" presName="node" presStyleLbl="node1" presStyleIdx="20" presStyleCnt="23">
        <dgm:presLayoutVars>
          <dgm:bulletEnabled val="1"/>
        </dgm:presLayoutVars>
      </dgm:prSet>
      <dgm:spPr/>
    </dgm:pt>
    <dgm:pt modelId="{73663720-A14D-6E43-AC3B-E676BB9A9687}" type="pres">
      <dgm:prSet presAssocID="{85EDAC62-8464-4900-83D5-39179CDD5866}" presName="sibTrans" presStyleCnt="0"/>
      <dgm:spPr/>
    </dgm:pt>
    <dgm:pt modelId="{88BBA33A-58A0-0240-B35A-528EC8D91FC1}" type="pres">
      <dgm:prSet presAssocID="{0C9B0EFB-6689-4BC6-AE99-2C859A75CEC4}" presName="node" presStyleLbl="node1" presStyleIdx="21" presStyleCnt="23">
        <dgm:presLayoutVars>
          <dgm:bulletEnabled val="1"/>
        </dgm:presLayoutVars>
      </dgm:prSet>
      <dgm:spPr/>
    </dgm:pt>
    <dgm:pt modelId="{11A2C7B7-DD5B-F846-99E6-35C5185A20F0}" type="pres">
      <dgm:prSet presAssocID="{51059007-D16B-411D-BB09-44BCD90B6374}" presName="sibTrans" presStyleCnt="0"/>
      <dgm:spPr/>
    </dgm:pt>
    <dgm:pt modelId="{29FF617C-5AC9-454B-A9C9-8438D10C19A4}" type="pres">
      <dgm:prSet presAssocID="{9454C0A4-1CAC-4238-97CE-AB68E36394F4}" presName="node" presStyleLbl="node1" presStyleIdx="22" presStyleCnt="23">
        <dgm:presLayoutVars>
          <dgm:bulletEnabled val="1"/>
        </dgm:presLayoutVars>
      </dgm:prSet>
      <dgm:spPr/>
    </dgm:pt>
  </dgm:ptLst>
  <dgm:cxnLst>
    <dgm:cxn modelId="{0F08EF03-471D-3949-B1EF-257E1856A936}" type="presOf" srcId="{9E63F966-389D-4F4E-88C3-728184EE92E9}" destId="{1DD63622-80FE-A142-8E77-E7D4E26B8206}" srcOrd="0" destOrd="0" presId="urn:microsoft.com/office/officeart/2005/8/layout/default"/>
    <dgm:cxn modelId="{29CF5908-19CA-E445-A413-E4E0912DB232}" type="presOf" srcId="{2A27833D-7B41-49C7-8FAC-62598A762697}" destId="{144CE97E-7DD5-E84C-A829-4C9DC37266C1}" srcOrd="0" destOrd="0" presId="urn:microsoft.com/office/officeart/2005/8/layout/default"/>
    <dgm:cxn modelId="{EDD5E621-6A1D-45CF-977B-7112E2397F58}" srcId="{FACEA9E7-BB0D-45B8-B296-98690ABE89A2}" destId="{6721222D-DB0E-477E-9FDB-D26552C743EF}" srcOrd="12" destOrd="0" parTransId="{FF8DDE6F-48BF-40FB-A9AF-BE118338C7BD}" sibTransId="{8C4646DF-91B3-47F4-AC78-2BE8249CA404}"/>
    <dgm:cxn modelId="{6B681224-6A29-9046-A183-FD1A2953B1FF}" type="presOf" srcId="{899605C4-07E7-43F8-B1F6-CD7B529E20BF}" destId="{0D54B71C-AD03-9F48-B3C6-33C5A53BCA8A}" srcOrd="0" destOrd="0" presId="urn:microsoft.com/office/officeart/2005/8/layout/default"/>
    <dgm:cxn modelId="{136EED33-9E47-3D40-AE51-544A9FCC681B}" type="presOf" srcId="{D06A6F01-C0AB-456E-83B5-1D4E75754ECD}" destId="{F294BE86-C01C-674E-852B-CBC32553E6E0}" srcOrd="0" destOrd="0" presId="urn:microsoft.com/office/officeart/2005/8/layout/default"/>
    <dgm:cxn modelId="{98776834-3ABF-4454-9D21-604B8E606225}" srcId="{FACEA9E7-BB0D-45B8-B296-98690ABE89A2}" destId="{D557F6A1-8A97-40D5-AD36-031D81F8A762}" srcOrd="15" destOrd="0" parTransId="{F892D748-6005-4F89-98C1-3382D40BD2F8}" sibTransId="{AF936015-64EF-4D9E-BB25-911EB89F8BB7}"/>
    <dgm:cxn modelId="{F4574037-0FF1-4F7A-8060-ECBFE413E4D9}" srcId="{FACEA9E7-BB0D-45B8-B296-98690ABE89A2}" destId="{90990ADA-B8DD-4B25-B517-DBF27DAD97D0}" srcOrd="1" destOrd="0" parTransId="{6BB34FF6-34D1-4EF7-AEE0-BA1E3C53EA33}" sibTransId="{22852283-194F-4801-B2A9-91ED470DFF2D}"/>
    <dgm:cxn modelId="{E98C735C-64E0-A449-B9B2-742793850073}" type="presOf" srcId="{20186B15-FD37-4E2A-A660-DB1859DBBF19}" destId="{6ECFD0F3-03FA-E642-95D1-7EBE6572A230}" srcOrd="0" destOrd="0" presId="urn:microsoft.com/office/officeart/2005/8/layout/default"/>
    <dgm:cxn modelId="{60683163-ACB9-45FB-A122-0184DFDCCC21}" srcId="{FACEA9E7-BB0D-45B8-B296-98690ABE89A2}" destId="{EF268FBD-7C5F-4D56-9D51-296C1E3DB018}" srcOrd="8" destOrd="0" parTransId="{F6619F1D-5AFE-4145-845F-6DE79A5AD7D3}" sibTransId="{74C6E60E-D51E-472C-AD1A-C5FFB6D4FBAE}"/>
    <dgm:cxn modelId="{A776AD4A-F617-3A4B-995B-BA8250AB1337}" type="presOf" srcId="{9F7A3198-B8D9-4533-A5F4-C193DFB18BB3}" destId="{64E9434F-BF3E-444B-8CDB-AEB9035547C3}" srcOrd="0" destOrd="0" presId="urn:microsoft.com/office/officeart/2005/8/layout/default"/>
    <dgm:cxn modelId="{7B58714B-6C23-3546-803B-CDF22ADF5054}" type="presOf" srcId="{6AFE318B-9E5D-41CE-889A-023D14EE9B00}" destId="{109765A9-ECC4-484C-A5D4-4466A898195C}" srcOrd="0" destOrd="0" presId="urn:microsoft.com/office/officeart/2005/8/layout/default"/>
    <dgm:cxn modelId="{B6438B6C-03A5-482C-8D25-30D67D7C5AD3}" srcId="{FACEA9E7-BB0D-45B8-B296-98690ABE89A2}" destId="{EC1AF839-6B4D-4288-AD6B-C998A67EAFFF}" srcOrd="3" destOrd="0" parTransId="{E9BE2E1A-618A-4362-B6CF-F4CB15A81782}" sibTransId="{5C79F2F4-AB6F-4F0F-AAFE-D1DB36730026}"/>
    <dgm:cxn modelId="{7D64C84C-2E51-4DC0-BAD7-916C196BD27B}" srcId="{FACEA9E7-BB0D-45B8-B296-98690ABE89A2}" destId="{3F6D0AAD-83F9-4989-AF0D-77DCD03C6F2C}" srcOrd="19" destOrd="0" parTransId="{4FCAD96F-51F5-4D80-B55C-8F21955FE4A8}" sibTransId="{7BAE83CA-DD7C-439C-A697-6820ABFB4B24}"/>
    <dgm:cxn modelId="{61304D6D-5E16-F44F-A6B5-519E8FBF2B81}" type="presOf" srcId="{6721222D-DB0E-477E-9FDB-D26552C743EF}" destId="{1C9528AF-B641-0147-8FF5-470A0E983FB0}" srcOrd="0" destOrd="0" presId="urn:microsoft.com/office/officeart/2005/8/layout/default"/>
    <dgm:cxn modelId="{98BB9F6D-D30B-554C-93B0-766892263D78}" type="presOf" srcId="{B7399438-84AF-4B2B-B0D0-E29C46DCB299}" destId="{FAE9EFE0-B49D-FA47-AD61-D4F6F4C357F9}" srcOrd="0" destOrd="0" presId="urn:microsoft.com/office/officeart/2005/8/layout/default"/>
    <dgm:cxn modelId="{8601556E-4B73-49F3-9978-7B098D3255BA}" srcId="{FACEA9E7-BB0D-45B8-B296-98690ABE89A2}" destId="{2A27833D-7B41-49C7-8FAC-62598A762697}" srcOrd="16" destOrd="0" parTransId="{F0B0F912-BFFB-49BF-AC82-6F0FE8E1B14D}" sibTransId="{4FC302D4-2D94-4B07-A616-BB7EBE1E85E9}"/>
    <dgm:cxn modelId="{3A57A94F-1583-074D-9C7C-3F3C4AB9FEE0}" type="presOf" srcId="{AB63E4AD-13DD-4D66-8AE1-3A1F2D2CDF55}" destId="{4D339B24-BDA4-A94E-8D0F-E17814FD4134}" srcOrd="0" destOrd="0" presId="urn:microsoft.com/office/officeart/2005/8/layout/default"/>
    <dgm:cxn modelId="{A9269472-DE27-42F2-A790-319B0B7A53B6}" srcId="{FACEA9E7-BB0D-45B8-B296-98690ABE89A2}" destId="{8972BD9F-3DEC-4ADE-B92B-AA7095A88D1B}" srcOrd="4" destOrd="0" parTransId="{6C4E21A8-3C66-4CC3-8BB1-BAD02B7B975C}" sibTransId="{794E9391-FAC3-49CE-8394-61AEF15D1EE8}"/>
    <dgm:cxn modelId="{24E39452-698B-AD46-9A03-4DFAEB8D0094}" type="presOf" srcId="{8DEB0339-76B7-41BB-917F-36116F6CBD8D}" destId="{EB4B0E75-0D46-9A49-945A-F927D277C121}" srcOrd="0" destOrd="0" presId="urn:microsoft.com/office/officeart/2005/8/layout/default"/>
    <dgm:cxn modelId="{0F0FC184-B42F-49A0-ADB3-8282EF74141C}" srcId="{FACEA9E7-BB0D-45B8-B296-98690ABE89A2}" destId="{899605C4-07E7-43F8-B1F6-CD7B529E20BF}" srcOrd="6" destOrd="0" parTransId="{18501780-62F1-4E70-B91B-492C74626E47}" sibTransId="{B461F816-17FE-4D4D-963C-AB14FBB9032B}"/>
    <dgm:cxn modelId="{7CC45C85-F798-D646-A101-D6AA2B305E06}" type="presOf" srcId="{F467CFB0-3EAC-4802-9B08-F0E6E14127F5}" destId="{3C8B1731-C478-0345-8824-1FC75D12BBA9}" srcOrd="0" destOrd="0" presId="urn:microsoft.com/office/officeart/2005/8/layout/default"/>
    <dgm:cxn modelId="{8228158A-D330-C241-BFEB-3A0BFEB6A36D}" type="presOf" srcId="{B40A819D-9F2B-404B-9997-997A723F8AE7}" destId="{B61E813F-D356-044B-88F9-37CC3D60E2C4}" srcOrd="0" destOrd="0" presId="urn:microsoft.com/office/officeart/2005/8/layout/default"/>
    <dgm:cxn modelId="{B2ECF58A-47C6-411B-BB3C-3DFED2D7630C}" srcId="{FACEA9E7-BB0D-45B8-B296-98690ABE89A2}" destId="{9E63F966-389D-4F4E-88C3-728184EE92E9}" srcOrd="13" destOrd="0" parTransId="{C183DA2B-B5D8-43E3-9768-1FE37EFEF74D}" sibTransId="{E9D0F1F5-7210-459C-8818-E30E1EF830A4}"/>
    <dgm:cxn modelId="{87E35390-1548-FC4F-BCA9-AC6E93F04D09}" type="presOf" srcId="{FACEA9E7-BB0D-45B8-B296-98690ABE89A2}" destId="{06CB04AD-9A3F-5940-B7E1-2781CCE850E4}" srcOrd="0" destOrd="0" presId="urn:microsoft.com/office/officeart/2005/8/layout/default"/>
    <dgm:cxn modelId="{1C7ABB94-9C0D-46CF-942A-DEE40A01AF48}" srcId="{FACEA9E7-BB0D-45B8-B296-98690ABE89A2}" destId="{B7399438-84AF-4B2B-B0D0-E29C46DCB299}" srcOrd="11" destOrd="0" parTransId="{9083174B-04D8-430C-8B2F-8150C167B539}" sibTransId="{80DE1332-AF66-4C78-813C-5AF20A22F4EF}"/>
    <dgm:cxn modelId="{1BA61EA9-7D84-7547-A785-F4205CEF1A68}" type="presOf" srcId="{4B91CD7A-9178-4D8F-8631-88570D599AC1}" destId="{6F881CFB-9E95-9E48-839A-FBD31B34838E}" srcOrd="0" destOrd="0" presId="urn:microsoft.com/office/officeart/2005/8/layout/default"/>
    <dgm:cxn modelId="{FF93C8A9-3DB8-984B-94E5-1BC7C65BFA98}" type="presOf" srcId="{1BDCB26A-2003-4F5B-90C4-B3C5CB6BF283}" destId="{C6FFD799-F9E1-1741-AD23-F8154E7D0627}" srcOrd="0" destOrd="0" presId="urn:microsoft.com/office/officeart/2005/8/layout/default"/>
    <dgm:cxn modelId="{53A500AA-4EF7-4568-A22C-42EE35C73156}" srcId="{FACEA9E7-BB0D-45B8-B296-98690ABE89A2}" destId="{9F7A3198-B8D9-4533-A5F4-C193DFB18BB3}" srcOrd="20" destOrd="0" parTransId="{1E4936A3-2DB9-4399-80CA-FFB722E7F184}" sibTransId="{85EDAC62-8464-4900-83D5-39179CDD5866}"/>
    <dgm:cxn modelId="{6D8A10AB-B3D4-44FC-A9F4-8A603D7847D7}" srcId="{FACEA9E7-BB0D-45B8-B296-98690ABE89A2}" destId="{F467CFB0-3EAC-4802-9B08-F0E6E14127F5}" srcOrd="17" destOrd="0" parTransId="{885AAF74-CA7D-4FE4-AD8C-59977245EBC5}" sibTransId="{BA06DC5C-C4EA-4DAA-8D04-A8642202BE09}"/>
    <dgm:cxn modelId="{F9EA8DAF-6637-4A76-B45D-4DBC5BCEC73B}" srcId="{FACEA9E7-BB0D-45B8-B296-98690ABE89A2}" destId="{0C9B0EFB-6689-4BC6-AE99-2C859A75CEC4}" srcOrd="21" destOrd="0" parTransId="{DF30F705-EA2B-4B8D-BF89-DF4982F06B7E}" sibTransId="{51059007-D16B-411D-BB09-44BCD90B6374}"/>
    <dgm:cxn modelId="{A80A58B2-9A84-44D0-983B-9EF5E403E486}" srcId="{FACEA9E7-BB0D-45B8-B296-98690ABE89A2}" destId="{6AFE318B-9E5D-41CE-889A-023D14EE9B00}" srcOrd="5" destOrd="0" parTransId="{A48E3C44-22CE-4B9E-973D-545547C6B25E}" sibTransId="{5771F155-B6BF-4C6E-B258-DA7972150A48}"/>
    <dgm:cxn modelId="{7E8D85B3-C6BC-4A44-AE88-E199EAA83544}" type="presOf" srcId="{3F6D0AAD-83F9-4989-AF0D-77DCD03C6F2C}" destId="{3616694B-B73C-0C47-963D-91079AD2E7F6}" srcOrd="0" destOrd="0" presId="urn:microsoft.com/office/officeart/2005/8/layout/default"/>
    <dgm:cxn modelId="{B4813AB5-A4D1-4007-8279-0048A5D59DD8}" srcId="{FACEA9E7-BB0D-45B8-B296-98690ABE89A2}" destId="{8DEB0339-76B7-41BB-917F-36116F6CBD8D}" srcOrd="9" destOrd="0" parTransId="{FEC3F3CE-80C5-4729-A8CE-6639EAB9D3EC}" sibTransId="{65CE8551-579E-46FC-A29F-2EC4A3B615D5}"/>
    <dgm:cxn modelId="{DB3623B9-73FD-1A45-9337-8612CB115554}" type="presOf" srcId="{9454C0A4-1CAC-4238-97CE-AB68E36394F4}" destId="{29FF617C-5AC9-454B-A9C9-8438D10C19A4}" srcOrd="0" destOrd="0" presId="urn:microsoft.com/office/officeart/2005/8/layout/default"/>
    <dgm:cxn modelId="{7A43FFBB-518A-4D5A-B2F8-CD42D42B821A}" srcId="{FACEA9E7-BB0D-45B8-B296-98690ABE89A2}" destId="{9454C0A4-1CAC-4238-97CE-AB68E36394F4}" srcOrd="22" destOrd="0" parTransId="{84D46E3E-4521-4DA9-AEC3-F41570B9BA60}" sibTransId="{D00FE690-FB70-43DC-865F-2895008D6D4B}"/>
    <dgm:cxn modelId="{2FEE99CB-8E49-7542-B5A6-39ECB9356040}" type="presOf" srcId="{EF268FBD-7C5F-4D56-9D51-296C1E3DB018}" destId="{88F713F3-E202-DB4E-8DE6-4FA0367A828E}" srcOrd="0" destOrd="0" presId="urn:microsoft.com/office/officeart/2005/8/layout/default"/>
    <dgm:cxn modelId="{B08BBDCC-E179-D643-BE84-A27DE2A0FCB6}" type="presOf" srcId="{0C9B0EFB-6689-4BC6-AE99-2C859A75CEC4}" destId="{88BBA33A-58A0-0240-B35A-528EC8D91FC1}" srcOrd="0" destOrd="0" presId="urn:microsoft.com/office/officeart/2005/8/layout/default"/>
    <dgm:cxn modelId="{23B7C8D7-781D-FF40-B9BE-9212B869B483}" type="presOf" srcId="{90990ADA-B8DD-4B25-B517-DBF27DAD97D0}" destId="{8B0A698B-9F7A-3243-95BA-3AAF2F0B10EC}" srcOrd="0" destOrd="0" presId="urn:microsoft.com/office/officeart/2005/8/layout/default"/>
    <dgm:cxn modelId="{FE8B26DA-4365-4B4C-B363-154CEB549DA2}" srcId="{FACEA9E7-BB0D-45B8-B296-98690ABE89A2}" destId="{B40A819D-9F2B-404B-9997-997A723F8AE7}" srcOrd="14" destOrd="0" parTransId="{F95396FB-AF9A-4626-9220-579D8F37F914}" sibTransId="{87C96A5C-0508-4F57-A0EB-3FD1500BDE78}"/>
    <dgm:cxn modelId="{8F5F46E6-B9EA-4CC5-B736-EDD42CFA61AE}" srcId="{FACEA9E7-BB0D-45B8-B296-98690ABE89A2}" destId="{4B91CD7A-9178-4D8F-8631-88570D599AC1}" srcOrd="2" destOrd="0" parTransId="{E2461A8C-813D-4EDB-9CC3-621D906C2B7B}" sibTransId="{06BD03B5-6AEF-4BEF-B095-9971A6F9310D}"/>
    <dgm:cxn modelId="{D4A9E3E9-BAEE-4780-AD1F-2CF5116A4A62}" srcId="{FACEA9E7-BB0D-45B8-B296-98690ABE89A2}" destId="{D06A6F01-C0AB-456E-83B5-1D4E75754ECD}" srcOrd="0" destOrd="0" parTransId="{BB276C6C-03D9-4028-B212-65ABB4721EC9}" sibTransId="{629414EE-36A4-4CE3-9355-D8CF15B8327E}"/>
    <dgm:cxn modelId="{C91B39EB-18C0-4B97-8EC7-DB506429F4B4}" srcId="{FACEA9E7-BB0D-45B8-B296-98690ABE89A2}" destId="{1BDCB26A-2003-4F5B-90C4-B3C5CB6BF283}" srcOrd="10" destOrd="0" parTransId="{96A08787-57C2-4E4D-9926-85563EB9AF75}" sibTransId="{DF1ACEFD-FD24-441D-A3E0-61092D9B5D82}"/>
    <dgm:cxn modelId="{29BED9EB-1B0C-0440-9E16-8EED5986F818}" type="presOf" srcId="{D557F6A1-8A97-40D5-AD36-031D81F8A762}" destId="{DFA256B6-9D08-AE4D-9339-B0E80F155B36}" srcOrd="0" destOrd="0" presId="urn:microsoft.com/office/officeart/2005/8/layout/default"/>
    <dgm:cxn modelId="{8B8FF8EB-2DB3-4DA1-A80A-4BE9D41A4FBC}" srcId="{FACEA9E7-BB0D-45B8-B296-98690ABE89A2}" destId="{20186B15-FD37-4E2A-A660-DB1859DBBF19}" srcOrd="7" destOrd="0" parTransId="{2BDB16E9-0B60-49B6-9735-D65176E5AB58}" sibTransId="{4FDE97D4-BAD0-4E37-8157-845F24A0AAF4}"/>
    <dgm:cxn modelId="{9FD410F5-2DD6-5A41-9266-BC9EB0C22577}" type="presOf" srcId="{EC1AF839-6B4D-4288-AD6B-C998A67EAFFF}" destId="{4355C52C-828C-4344-AC02-7A54C6272225}" srcOrd="0" destOrd="0" presId="urn:microsoft.com/office/officeart/2005/8/layout/default"/>
    <dgm:cxn modelId="{DA1D8AFA-430E-4EEA-9E13-36DB08D01000}" srcId="{FACEA9E7-BB0D-45B8-B296-98690ABE89A2}" destId="{AB63E4AD-13DD-4D66-8AE1-3A1F2D2CDF55}" srcOrd="18" destOrd="0" parTransId="{6B131B7F-8022-4AD1-B253-8E418DB15C7A}" sibTransId="{36E1DDF4-316C-4313-A4D1-FD1A91070B5C}"/>
    <dgm:cxn modelId="{8D6F12FB-1F28-CE46-B236-2B62EB85AB34}" type="presOf" srcId="{8972BD9F-3DEC-4ADE-B92B-AA7095A88D1B}" destId="{B71E6B68-5394-1A47-B2DB-ADEA260622CA}" srcOrd="0" destOrd="0" presId="urn:microsoft.com/office/officeart/2005/8/layout/default"/>
    <dgm:cxn modelId="{4FC4BC7E-E251-C840-B847-544839C72E3C}" type="presParOf" srcId="{06CB04AD-9A3F-5940-B7E1-2781CCE850E4}" destId="{F294BE86-C01C-674E-852B-CBC32553E6E0}" srcOrd="0" destOrd="0" presId="urn:microsoft.com/office/officeart/2005/8/layout/default"/>
    <dgm:cxn modelId="{7A06FE02-6200-EE4E-B490-462B3A92291C}" type="presParOf" srcId="{06CB04AD-9A3F-5940-B7E1-2781CCE850E4}" destId="{4FA9B8F4-9F33-FB47-B06F-178DB103B8BB}" srcOrd="1" destOrd="0" presId="urn:microsoft.com/office/officeart/2005/8/layout/default"/>
    <dgm:cxn modelId="{2273FF81-2A17-2B4C-8338-8E8BCCE550E8}" type="presParOf" srcId="{06CB04AD-9A3F-5940-B7E1-2781CCE850E4}" destId="{8B0A698B-9F7A-3243-95BA-3AAF2F0B10EC}" srcOrd="2" destOrd="0" presId="urn:microsoft.com/office/officeart/2005/8/layout/default"/>
    <dgm:cxn modelId="{235306EA-23FF-114D-A12D-535F1A099361}" type="presParOf" srcId="{06CB04AD-9A3F-5940-B7E1-2781CCE850E4}" destId="{5F43A15D-7638-264E-85F9-11910ADD6788}" srcOrd="3" destOrd="0" presId="urn:microsoft.com/office/officeart/2005/8/layout/default"/>
    <dgm:cxn modelId="{D43BE598-E376-D24F-82AD-6D414F03644F}" type="presParOf" srcId="{06CB04AD-9A3F-5940-B7E1-2781CCE850E4}" destId="{6F881CFB-9E95-9E48-839A-FBD31B34838E}" srcOrd="4" destOrd="0" presId="urn:microsoft.com/office/officeart/2005/8/layout/default"/>
    <dgm:cxn modelId="{EA0C6334-A617-EE44-8B43-4E9E249C4D8D}" type="presParOf" srcId="{06CB04AD-9A3F-5940-B7E1-2781CCE850E4}" destId="{358E1F74-0742-7C4D-BB7F-6A371A39CD34}" srcOrd="5" destOrd="0" presId="urn:microsoft.com/office/officeart/2005/8/layout/default"/>
    <dgm:cxn modelId="{106A282A-CF67-D445-9CEB-95457E4C6C88}" type="presParOf" srcId="{06CB04AD-9A3F-5940-B7E1-2781CCE850E4}" destId="{4355C52C-828C-4344-AC02-7A54C6272225}" srcOrd="6" destOrd="0" presId="urn:microsoft.com/office/officeart/2005/8/layout/default"/>
    <dgm:cxn modelId="{E95B9372-29EE-9046-BEF9-9DED6F005749}" type="presParOf" srcId="{06CB04AD-9A3F-5940-B7E1-2781CCE850E4}" destId="{296D3616-B577-E74F-A461-3CE86757FA55}" srcOrd="7" destOrd="0" presId="urn:microsoft.com/office/officeart/2005/8/layout/default"/>
    <dgm:cxn modelId="{13655866-90B7-F24C-A363-F2F4A219EAC3}" type="presParOf" srcId="{06CB04AD-9A3F-5940-B7E1-2781CCE850E4}" destId="{B71E6B68-5394-1A47-B2DB-ADEA260622CA}" srcOrd="8" destOrd="0" presId="urn:microsoft.com/office/officeart/2005/8/layout/default"/>
    <dgm:cxn modelId="{A0B46B0D-7A01-D042-9055-349B4050F691}" type="presParOf" srcId="{06CB04AD-9A3F-5940-B7E1-2781CCE850E4}" destId="{2993A684-92A0-C145-B36A-3B7DE80F447E}" srcOrd="9" destOrd="0" presId="urn:microsoft.com/office/officeart/2005/8/layout/default"/>
    <dgm:cxn modelId="{46EEA393-A371-CC47-B724-3DE8DA50A7F4}" type="presParOf" srcId="{06CB04AD-9A3F-5940-B7E1-2781CCE850E4}" destId="{109765A9-ECC4-484C-A5D4-4466A898195C}" srcOrd="10" destOrd="0" presId="urn:microsoft.com/office/officeart/2005/8/layout/default"/>
    <dgm:cxn modelId="{E9DE9FF2-1DAC-C24E-B03E-EB25AB58BA1E}" type="presParOf" srcId="{06CB04AD-9A3F-5940-B7E1-2781CCE850E4}" destId="{BB55005D-A4B4-6C4B-AAD1-E0BB043B1963}" srcOrd="11" destOrd="0" presId="urn:microsoft.com/office/officeart/2005/8/layout/default"/>
    <dgm:cxn modelId="{7879EF53-C121-6F48-9E6E-4D2F1FFC6593}" type="presParOf" srcId="{06CB04AD-9A3F-5940-B7E1-2781CCE850E4}" destId="{0D54B71C-AD03-9F48-B3C6-33C5A53BCA8A}" srcOrd="12" destOrd="0" presId="urn:microsoft.com/office/officeart/2005/8/layout/default"/>
    <dgm:cxn modelId="{C75EE2A4-582F-234D-9AB7-392A885D5702}" type="presParOf" srcId="{06CB04AD-9A3F-5940-B7E1-2781CCE850E4}" destId="{4ADA9AD3-5C76-FA44-BF1B-6FC6809A5D1F}" srcOrd="13" destOrd="0" presId="urn:microsoft.com/office/officeart/2005/8/layout/default"/>
    <dgm:cxn modelId="{050C018C-B4A0-584D-9304-DD25A4044F18}" type="presParOf" srcId="{06CB04AD-9A3F-5940-B7E1-2781CCE850E4}" destId="{6ECFD0F3-03FA-E642-95D1-7EBE6572A230}" srcOrd="14" destOrd="0" presId="urn:microsoft.com/office/officeart/2005/8/layout/default"/>
    <dgm:cxn modelId="{2C4FD424-3CC0-E24B-8C2A-2EF3B9A0AB51}" type="presParOf" srcId="{06CB04AD-9A3F-5940-B7E1-2781CCE850E4}" destId="{ED74BE9A-0488-604D-83C8-F512A44B38E7}" srcOrd="15" destOrd="0" presId="urn:microsoft.com/office/officeart/2005/8/layout/default"/>
    <dgm:cxn modelId="{13F60D1D-29BF-CE42-8AF8-32C3A61FC71B}" type="presParOf" srcId="{06CB04AD-9A3F-5940-B7E1-2781CCE850E4}" destId="{88F713F3-E202-DB4E-8DE6-4FA0367A828E}" srcOrd="16" destOrd="0" presId="urn:microsoft.com/office/officeart/2005/8/layout/default"/>
    <dgm:cxn modelId="{6654DACB-E206-0C4A-9FC3-A2A7E2A97F35}" type="presParOf" srcId="{06CB04AD-9A3F-5940-B7E1-2781CCE850E4}" destId="{3D8DF478-2296-2B4E-84A4-05A13247859F}" srcOrd="17" destOrd="0" presId="urn:microsoft.com/office/officeart/2005/8/layout/default"/>
    <dgm:cxn modelId="{511DBFA7-E84F-544A-A9D1-E2CFF687B38B}" type="presParOf" srcId="{06CB04AD-9A3F-5940-B7E1-2781CCE850E4}" destId="{EB4B0E75-0D46-9A49-945A-F927D277C121}" srcOrd="18" destOrd="0" presId="urn:microsoft.com/office/officeart/2005/8/layout/default"/>
    <dgm:cxn modelId="{42D7C672-D9FE-1746-B269-9B8038EE6176}" type="presParOf" srcId="{06CB04AD-9A3F-5940-B7E1-2781CCE850E4}" destId="{AB417145-1CA0-1645-8808-A6B75E8B7D95}" srcOrd="19" destOrd="0" presId="urn:microsoft.com/office/officeart/2005/8/layout/default"/>
    <dgm:cxn modelId="{33251717-4D5C-E943-A3C1-FC53239D013C}" type="presParOf" srcId="{06CB04AD-9A3F-5940-B7E1-2781CCE850E4}" destId="{C6FFD799-F9E1-1741-AD23-F8154E7D0627}" srcOrd="20" destOrd="0" presId="urn:microsoft.com/office/officeart/2005/8/layout/default"/>
    <dgm:cxn modelId="{E6A670CD-D9AA-7142-90B0-7FCA056DB1BE}" type="presParOf" srcId="{06CB04AD-9A3F-5940-B7E1-2781CCE850E4}" destId="{B07DFE50-5223-7241-9153-BADB030818BA}" srcOrd="21" destOrd="0" presId="urn:microsoft.com/office/officeart/2005/8/layout/default"/>
    <dgm:cxn modelId="{B919581C-2908-1A49-A969-515515F960DA}" type="presParOf" srcId="{06CB04AD-9A3F-5940-B7E1-2781CCE850E4}" destId="{FAE9EFE0-B49D-FA47-AD61-D4F6F4C357F9}" srcOrd="22" destOrd="0" presId="urn:microsoft.com/office/officeart/2005/8/layout/default"/>
    <dgm:cxn modelId="{3263AC73-00EE-2842-84C9-927663938DB9}" type="presParOf" srcId="{06CB04AD-9A3F-5940-B7E1-2781CCE850E4}" destId="{2319B466-13DE-D241-A885-F0408C3123A7}" srcOrd="23" destOrd="0" presId="urn:microsoft.com/office/officeart/2005/8/layout/default"/>
    <dgm:cxn modelId="{251F2D1A-3000-3944-8158-2B563A936678}" type="presParOf" srcId="{06CB04AD-9A3F-5940-B7E1-2781CCE850E4}" destId="{1C9528AF-B641-0147-8FF5-470A0E983FB0}" srcOrd="24" destOrd="0" presId="urn:microsoft.com/office/officeart/2005/8/layout/default"/>
    <dgm:cxn modelId="{DD6599A1-B4DD-334A-B5F4-C53AD12A4378}" type="presParOf" srcId="{06CB04AD-9A3F-5940-B7E1-2781CCE850E4}" destId="{B3827781-84C0-F244-88B1-868B5D74E898}" srcOrd="25" destOrd="0" presId="urn:microsoft.com/office/officeart/2005/8/layout/default"/>
    <dgm:cxn modelId="{37D58ADE-BB44-074B-97A2-C2D764BD9C01}" type="presParOf" srcId="{06CB04AD-9A3F-5940-B7E1-2781CCE850E4}" destId="{1DD63622-80FE-A142-8E77-E7D4E26B8206}" srcOrd="26" destOrd="0" presId="urn:microsoft.com/office/officeart/2005/8/layout/default"/>
    <dgm:cxn modelId="{05B14CEB-1793-C64D-A6AE-0CCB83246C62}" type="presParOf" srcId="{06CB04AD-9A3F-5940-B7E1-2781CCE850E4}" destId="{DA08C2D9-854C-8A49-A227-DC0CD76151BD}" srcOrd="27" destOrd="0" presId="urn:microsoft.com/office/officeart/2005/8/layout/default"/>
    <dgm:cxn modelId="{8DC9A5E5-46B6-D84C-B761-A18FD8C78F62}" type="presParOf" srcId="{06CB04AD-9A3F-5940-B7E1-2781CCE850E4}" destId="{B61E813F-D356-044B-88F9-37CC3D60E2C4}" srcOrd="28" destOrd="0" presId="urn:microsoft.com/office/officeart/2005/8/layout/default"/>
    <dgm:cxn modelId="{DE7FD519-F647-BF49-A1B1-D6D70BE6E8DB}" type="presParOf" srcId="{06CB04AD-9A3F-5940-B7E1-2781CCE850E4}" destId="{C4653921-C12D-9A4C-A056-703F3205123C}" srcOrd="29" destOrd="0" presId="urn:microsoft.com/office/officeart/2005/8/layout/default"/>
    <dgm:cxn modelId="{0CCF804E-60E5-C747-A8F4-50766EB9B46B}" type="presParOf" srcId="{06CB04AD-9A3F-5940-B7E1-2781CCE850E4}" destId="{DFA256B6-9D08-AE4D-9339-B0E80F155B36}" srcOrd="30" destOrd="0" presId="urn:microsoft.com/office/officeart/2005/8/layout/default"/>
    <dgm:cxn modelId="{28B7115E-2E27-6E4B-82EB-90DE8B922E13}" type="presParOf" srcId="{06CB04AD-9A3F-5940-B7E1-2781CCE850E4}" destId="{E58B9547-40BE-AE4C-A55E-A5FD9068D309}" srcOrd="31" destOrd="0" presId="urn:microsoft.com/office/officeart/2005/8/layout/default"/>
    <dgm:cxn modelId="{C0969155-F8DC-894C-BDB7-4B7927EE119B}" type="presParOf" srcId="{06CB04AD-9A3F-5940-B7E1-2781CCE850E4}" destId="{144CE97E-7DD5-E84C-A829-4C9DC37266C1}" srcOrd="32" destOrd="0" presId="urn:microsoft.com/office/officeart/2005/8/layout/default"/>
    <dgm:cxn modelId="{4F423219-F65A-0341-BDFE-0A08C4DBFFBC}" type="presParOf" srcId="{06CB04AD-9A3F-5940-B7E1-2781CCE850E4}" destId="{642E83CF-01D8-7248-A964-D60FC2FC53CC}" srcOrd="33" destOrd="0" presId="urn:microsoft.com/office/officeart/2005/8/layout/default"/>
    <dgm:cxn modelId="{AC6B69BD-A590-414F-8D07-246C9F8827B6}" type="presParOf" srcId="{06CB04AD-9A3F-5940-B7E1-2781CCE850E4}" destId="{3C8B1731-C478-0345-8824-1FC75D12BBA9}" srcOrd="34" destOrd="0" presId="urn:microsoft.com/office/officeart/2005/8/layout/default"/>
    <dgm:cxn modelId="{295900AB-FAAF-354E-BD31-F5CB863C688B}" type="presParOf" srcId="{06CB04AD-9A3F-5940-B7E1-2781CCE850E4}" destId="{5BA0C53A-55C2-704A-AA78-829A77C321A1}" srcOrd="35" destOrd="0" presId="urn:microsoft.com/office/officeart/2005/8/layout/default"/>
    <dgm:cxn modelId="{9AFA0F2F-3AC5-2643-8A69-076C193CC15B}" type="presParOf" srcId="{06CB04AD-9A3F-5940-B7E1-2781CCE850E4}" destId="{4D339B24-BDA4-A94E-8D0F-E17814FD4134}" srcOrd="36" destOrd="0" presId="urn:microsoft.com/office/officeart/2005/8/layout/default"/>
    <dgm:cxn modelId="{53A7E763-6971-FB42-BD5A-E73CAA238259}" type="presParOf" srcId="{06CB04AD-9A3F-5940-B7E1-2781CCE850E4}" destId="{BE8DA6D9-6D83-1E40-AAEA-E1F5A9CC1E6C}" srcOrd="37" destOrd="0" presId="urn:microsoft.com/office/officeart/2005/8/layout/default"/>
    <dgm:cxn modelId="{B2FE430B-E2D4-B94F-B2B4-E995AADD4CA2}" type="presParOf" srcId="{06CB04AD-9A3F-5940-B7E1-2781CCE850E4}" destId="{3616694B-B73C-0C47-963D-91079AD2E7F6}" srcOrd="38" destOrd="0" presId="urn:microsoft.com/office/officeart/2005/8/layout/default"/>
    <dgm:cxn modelId="{EEB9133B-B054-3B41-8A60-B5F033941255}" type="presParOf" srcId="{06CB04AD-9A3F-5940-B7E1-2781CCE850E4}" destId="{0A495FAF-1E06-B640-9215-7AB18AA49E25}" srcOrd="39" destOrd="0" presId="urn:microsoft.com/office/officeart/2005/8/layout/default"/>
    <dgm:cxn modelId="{55FF7BDD-1F7A-F640-BAEF-352AA1134949}" type="presParOf" srcId="{06CB04AD-9A3F-5940-B7E1-2781CCE850E4}" destId="{64E9434F-BF3E-444B-8CDB-AEB9035547C3}" srcOrd="40" destOrd="0" presId="urn:microsoft.com/office/officeart/2005/8/layout/default"/>
    <dgm:cxn modelId="{85D75392-BD60-634D-A6C8-DCA09BCC6F6F}" type="presParOf" srcId="{06CB04AD-9A3F-5940-B7E1-2781CCE850E4}" destId="{73663720-A14D-6E43-AC3B-E676BB9A9687}" srcOrd="41" destOrd="0" presId="urn:microsoft.com/office/officeart/2005/8/layout/default"/>
    <dgm:cxn modelId="{191205F4-9E0D-B342-9B18-04F4A7431C95}" type="presParOf" srcId="{06CB04AD-9A3F-5940-B7E1-2781CCE850E4}" destId="{88BBA33A-58A0-0240-B35A-528EC8D91FC1}" srcOrd="42" destOrd="0" presId="urn:microsoft.com/office/officeart/2005/8/layout/default"/>
    <dgm:cxn modelId="{C8DECFBF-15B1-9F4F-B134-350E7B1A13A4}" type="presParOf" srcId="{06CB04AD-9A3F-5940-B7E1-2781CCE850E4}" destId="{11A2C7B7-DD5B-F846-99E6-35C5185A20F0}" srcOrd="43" destOrd="0" presId="urn:microsoft.com/office/officeart/2005/8/layout/default"/>
    <dgm:cxn modelId="{F530DA1C-C55E-5942-95AD-2088A2A10FC3}" type="presParOf" srcId="{06CB04AD-9A3F-5940-B7E1-2781CCE850E4}" destId="{29FF617C-5AC9-454B-A9C9-8438D10C19A4}" srcOrd="4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6914A7B-D20C-4E41-B28C-F5A33A0CE0DA}" type="doc">
      <dgm:prSet loTypeId="urn:microsoft.com/office/officeart/2005/8/layout/gear1" loCatId="" qsTypeId="urn:microsoft.com/office/officeart/2005/8/quickstyle/simple1" qsCatId="simple" csTypeId="urn:microsoft.com/office/officeart/2005/8/colors/colorful3" csCatId="colorful" phldr="1"/>
      <dgm:spPr/>
    </dgm:pt>
    <dgm:pt modelId="{5D8DAFC2-1478-9141-98D8-FCF6734DB2C4}">
      <dgm:prSet phldrT="[Text]"/>
      <dgm:spPr/>
      <dgm:t>
        <a:bodyPr/>
        <a:lstStyle/>
        <a:p>
          <a:r>
            <a:rPr lang="en-GB" dirty="0" err="1"/>
            <a:t>Sommeil</a:t>
          </a:r>
          <a:endParaRPr lang="en-GB" dirty="0"/>
        </a:p>
      </dgm:t>
    </dgm:pt>
    <dgm:pt modelId="{78D828C5-B486-D746-A1AF-17C35A49E744}" type="parTrans" cxnId="{3C78039A-8A8F-474A-8785-440C221B44B7}">
      <dgm:prSet/>
      <dgm:spPr/>
      <dgm:t>
        <a:bodyPr/>
        <a:lstStyle/>
        <a:p>
          <a:endParaRPr lang="en-GB"/>
        </a:p>
      </dgm:t>
    </dgm:pt>
    <dgm:pt modelId="{89939F4D-5B7D-CF49-BCB0-6A1BBE7352F3}" type="sibTrans" cxnId="{3C78039A-8A8F-474A-8785-440C221B44B7}">
      <dgm:prSet/>
      <dgm:spPr/>
      <dgm:t>
        <a:bodyPr/>
        <a:lstStyle/>
        <a:p>
          <a:endParaRPr lang="en-GB"/>
        </a:p>
      </dgm:t>
    </dgm:pt>
    <dgm:pt modelId="{778D8671-5724-7D4F-87C3-E867BEB937DD}">
      <dgm:prSet phldrT="[Text]"/>
      <dgm:spPr/>
      <dgm:t>
        <a:bodyPr/>
        <a:lstStyle/>
        <a:p>
          <a:r>
            <a:rPr lang="en-GB" dirty="0" err="1"/>
            <a:t>Activité</a:t>
          </a:r>
          <a:endParaRPr lang="en-GB" dirty="0"/>
        </a:p>
      </dgm:t>
    </dgm:pt>
    <dgm:pt modelId="{6AC969A3-CE6E-844B-8176-9A05107E1436}" type="parTrans" cxnId="{C391ED78-9816-634E-9D8F-C915D68B9A2D}">
      <dgm:prSet/>
      <dgm:spPr/>
      <dgm:t>
        <a:bodyPr/>
        <a:lstStyle/>
        <a:p>
          <a:endParaRPr lang="en-GB"/>
        </a:p>
      </dgm:t>
    </dgm:pt>
    <dgm:pt modelId="{300A440D-25D4-1F42-A971-CEC0AC77FF8A}" type="sibTrans" cxnId="{C391ED78-9816-634E-9D8F-C915D68B9A2D}">
      <dgm:prSet/>
      <dgm:spPr/>
      <dgm:t>
        <a:bodyPr/>
        <a:lstStyle/>
        <a:p>
          <a:endParaRPr lang="en-GB"/>
        </a:p>
      </dgm:t>
    </dgm:pt>
    <dgm:pt modelId="{F37ACA4F-5E93-0D4D-A149-BE938A2C3C08}">
      <dgm:prSet phldrT="[Text]"/>
      <dgm:spPr/>
      <dgm:t>
        <a:bodyPr/>
        <a:lstStyle/>
        <a:p>
          <a:r>
            <a:rPr lang="en-GB" dirty="0"/>
            <a:t>Nutrition</a:t>
          </a:r>
        </a:p>
      </dgm:t>
    </dgm:pt>
    <dgm:pt modelId="{4F0A086E-928E-FF4A-8DC4-D9BEB66C6473}" type="parTrans" cxnId="{8576D9AB-CAFD-1048-9122-0337A3093371}">
      <dgm:prSet/>
      <dgm:spPr/>
      <dgm:t>
        <a:bodyPr/>
        <a:lstStyle/>
        <a:p>
          <a:endParaRPr lang="en-GB"/>
        </a:p>
      </dgm:t>
    </dgm:pt>
    <dgm:pt modelId="{195851A9-83A7-0E40-AECD-5A139A6FC993}" type="sibTrans" cxnId="{8576D9AB-CAFD-1048-9122-0337A3093371}">
      <dgm:prSet/>
      <dgm:spPr/>
      <dgm:t>
        <a:bodyPr/>
        <a:lstStyle/>
        <a:p>
          <a:endParaRPr lang="en-GB"/>
        </a:p>
      </dgm:t>
    </dgm:pt>
    <dgm:pt modelId="{61272657-3ECE-6044-85CB-3D06F66C8494}" type="pres">
      <dgm:prSet presAssocID="{F6914A7B-D20C-4E41-B28C-F5A33A0CE0D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FDC0F4-2F84-2F43-8EC8-06E518B29297}" type="pres">
      <dgm:prSet presAssocID="{5D8DAFC2-1478-9141-98D8-FCF6734DB2C4}" presName="gear1" presStyleLbl="node1" presStyleIdx="0" presStyleCnt="3">
        <dgm:presLayoutVars>
          <dgm:chMax val="1"/>
          <dgm:bulletEnabled val="1"/>
        </dgm:presLayoutVars>
      </dgm:prSet>
      <dgm:spPr/>
    </dgm:pt>
    <dgm:pt modelId="{3C4CC788-A0A0-2847-9C7F-D5BF26440CEB}" type="pres">
      <dgm:prSet presAssocID="{5D8DAFC2-1478-9141-98D8-FCF6734DB2C4}" presName="gear1srcNode" presStyleLbl="node1" presStyleIdx="0" presStyleCnt="3"/>
      <dgm:spPr/>
    </dgm:pt>
    <dgm:pt modelId="{9225011B-EF56-E245-9CB4-0171C933F722}" type="pres">
      <dgm:prSet presAssocID="{5D8DAFC2-1478-9141-98D8-FCF6734DB2C4}" presName="gear1dstNode" presStyleLbl="node1" presStyleIdx="0" presStyleCnt="3"/>
      <dgm:spPr/>
    </dgm:pt>
    <dgm:pt modelId="{7A406FA2-5117-194C-BB6F-AAFD7029EF58}" type="pres">
      <dgm:prSet presAssocID="{778D8671-5724-7D4F-87C3-E867BEB937DD}" presName="gear2" presStyleLbl="node1" presStyleIdx="1" presStyleCnt="3">
        <dgm:presLayoutVars>
          <dgm:chMax val="1"/>
          <dgm:bulletEnabled val="1"/>
        </dgm:presLayoutVars>
      </dgm:prSet>
      <dgm:spPr/>
    </dgm:pt>
    <dgm:pt modelId="{4D93214B-267F-DF43-B2DD-0E5B1F5108C8}" type="pres">
      <dgm:prSet presAssocID="{778D8671-5724-7D4F-87C3-E867BEB937DD}" presName="gear2srcNode" presStyleLbl="node1" presStyleIdx="1" presStyleCnt="3"/>
      <dgm:spPr/>
    </dgm:pt>
    <dgm:pt modelId="{5773122E-36EB-6C49-B121-CC69470B0E8E}" type="pres">
      <dgm:prSet presAssocID="{778D8671-5724-7D4F-87C3-E867BEB937DD}" presName="gear2dstNode" presStyleLbl="node1" presStyleIdx="1" presStyleCnt="3"/>
      <dgm:spPr/>
    </dgm:pt>
    <dgm:pt modelId="{2D46E493-C4D8-6842-BD05-6426F61EB0B8}" type="pres">
      <dgm:prSet presAssocID="{F37ACA4F-5E93-0D4D-A149-BE938A2C3C08}" presName="gear3" presStyleLbl="node1" presStyleIdx="2" presStyleCnt="3"/>
      <dgm:spPr/>
    </dgm:pt>
    <dgm:pt modelId="{E6420502-A7E9-C64A-B10A-814B95E5F015}" type="pres">
      <dgm:prSet presAssocID="{F37ACA4F-5E93-0D4D-A149-BE938A2C3C08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7F176002-1C9D-D24E-A18D-E8DEDA8621F8}" type="pres">
      <dgm:prSet presAssocID="{F37ACA4F-5E93-0D4D-A149-BE938A2C3C08}" presName="gear3srcNode" presStyleLbl="node1" presStyleIdx="2" presStyleCnt="3"/>
      <dgm:spPr/>
    </dgm:pt>
    <dgm:pt modelId="{8F51DD4B-C83D-4845-BA1C-10346B9F7CAE}" type="pres">
      <dgm:prSet presAssocID="{F37ACA4F-5E93-0D4D-A149-BE938A2C3C08}" presName="gear3dstNode" presStyleLbl="node1" presStyleIdx="2" presStyleCnt="3"/>
      <dgm:spPr/>
    </dgm:pt>
    <dgm:pt modelId="{CB5DC0E8-7525-9245-946D-FF487D9A9275}" type="pres">
      <dgm:prSet presAssocID="{89939F4D-5B7D-CF49-BCB0-6A1BBE7352F3}" presName="connector1" presStyleLbl="sibTrans2D1" presStyleIdx="0" presStyleCnt="3"/>
      <dgm:spPr/>
    </dgm:pt>
    <dgm:pt modelId="{94D02AE9-4D55-9345-BA26-20AF5B99B114}" type="pres">
      <dgm:prSet presAssocID="{300A440D-25D4-1F42-A971-CEC0AC77FF8A}" presName="connector2" presStyleLbl="sibTrans2D1" presStyleIdx="1" presStyleCnt="3"/>
      <dgm:spPr/>
    </dgm:pt>
    <dgm:pt modelId="{91FC7065-30B5-B344-80BB-E26A46FFA3F6}" type="pres">
      <dgm:prSet presAssocID="{195851A9-83A7-0E40-AECD-5A139A6FC993}" presName="connector3" presStyleLbl="sibTrans2D1" presStyleIdx="2" presStyleCnt="3"/>
      <dgm:spPr/>
    </dgm:pt>
  </dgm:ptLst>
  <dgm:cxnLst>
    <dgm:cxn modelId="{13F17A03-5DDA-DC43-849A-246CE2487F94}" type="presOf" srcId="{778D8671-5724-7D4F-87C3-E867BEB937DD}" destId="{7A406FA2-5117-194C-BB6F-AAFD7029EF58}" srcOrd="0" destOrd="0" presId="urn:microsoft.com/office/officeart/2005/8/layout/gear1"/>
    <dgm:cxn modelId="{B5824428-4D50-4C43-BAE2-BB89EAC18682}" type="presOf" srcId="{F6914A7B-D20C-4E41-B28C-F5A33A0CE0DA}" destId="{61272657-3ECE-6044-85CB-3D06F66C8494}" srcOrd="0" destOrd="0" presId="urn:microsoft.com/office/officeart/2005/8/layout/gear1"/>
    <dgm:cxn modelId="{733FA839-6A3D-C240-A6D3-C4E230850337}" type="presOf" srcId="{5D8DAFC2-1478-9141-98D8-FCF6734DB2C4}" destId="{9225011B-EF56-E245-9CB4-0171C933F722}" srcOrd="2" destOrd="0" presId="urn:microsoft.com/office/officeart/2005/8/layout/gear1"/>
    <dgm:cxn modelId="{CE21AD3A-080D-B847-AF39-11E42D3DDA94}" type="presOf" srcId="{F37ACA4F-5E93-0D4D-A149-BE938A2C3C08}" destId="{7F176002-1C9D-D24E-A18D-E8DEDA8621F8}" srcOrd="2" destOrd="0" presId="urn:microsoft.com/office/officeart/2005/8/layout/gear1"/>
    <dgm:cxn modelId="{0F2BEB45-7B72-ED47-AD3B-5005EAFCABD6}" type="presOf" srcId="{F37ACA4F-5E93-0D4D-A149-BE938A2C3C08}" destId="{8F51DD4B-C83D-4845-BA1C-10346B9F7CAE}" srcOrd="3" destOrd="0" presId="urn:microsoft.com/office/officeart/2005/8/layout/gear1"/>
    <dgm:cxn modelId="{CA399A6B-9645-F843-B37E-1FDD627A1833}" type="presOf" srcId="{F37ACA4F-5E93-0D4D-A149-BE938A2C3C08}" destId="{E6420502-A7E9-C64A-B10A-814B95E5F015}" srcOrd="1" destOrd="0" presId="urn:microsoft.com/office/officeart/2005/8/layout/gear1"/>
    <dgm:cxn modelId="{C391ED78-9816-634E-9D8F-C915D68B9A2D}" srcId="{F6914A7B-D20C-4E41-B28C-F5A33A0CE0DA}" destId="{778D8671-5724-7D4F-87C3-E867BEB937DD}" srcOrd="1" destOrd="0" parTransId="{6AC969A3-CE6E-844B-8176-9A05107E1436}" sibTransId="{300A440D-25D4-1F42-A971-CEC0AC77FF8A}"/>
    <dgm:cxn modelId="{165F1093-5A62-264D-A2AA-DD94B72395B1}" type="presOf" srcId="{5D8DAFC2-1478-9141-98D8-FCF6734DB2C4}" destId="{DFFDC0F4-2F84-2F43-8EC8-06E518B29297}" srcOrd="0" destOrd="0" presId="urn:microsoft.com/office/officeart/2005/8/layout/gear1"/>
    <dgm:cxn modelId="{3C78039A-8A8F-474A-8785-440C221B44B7}" srcId="{F6914A7B-D20C-4E41-B28C-F5A33A0CE0DA}" destId="{5D8DAFC2-1478-9141-98D8-FCF6734DB2C4}" srcOrd="0" destOrd="0" parTransId="{78D828C5-B486-D746-A1AF-17C35A49E744}" sibTransId="{89939F4D-5B7D-CF49-BCB0-6A1BBE7352F3}"/>
    <dgm:cxn modelId="{B74FEF9F-F403-3545-996C-6CDE78A80047}" type="presOf" srcId="{778D8671-5724-7D4F-87C3-E867BEB937DD}" destId="{4D93214B-267F-DF43-B2DD-0E5B1F5108C8}" srcOrd="1" destOrd="0" presId="urn:microsoft.com/office/officeart/2005/8/layout/gear1"/>
    <dgm:cxn modelId="{CCB717A1-BCBF-7F43-9C2E-AEEF72302B3E}" type="presOf" srcId="{195851A9-83A7-0E40-AECD-5A139A6FC993}" destId="{91FC7065-30B5-B344-80BB-E26A46FFA3F6}" srcOrd="0" destOrd="0" presId="urn:microsoft.com/office/officeart/2005/8/layout/gear1"/>
    <dgm:cxn modelId="{8576D9AB-CAFD-1048-9122-0337A3093371}" srcId="{F6914A7B-D20C-4E41-B28C-F5A33A0CE0DA}" destId="{F37ACA4F-5E93-0D4D-A149-BE938A2C3C08}" srcOrd="2" destOrd="0" parTransId="{4F0A086E-928E-FF4A-8DC4-D9BEB66C6473}" sibTransId="{195851A9-83A7-0E40-AECD-5A139A6FC993}"/>
    <dgm:cxn modelId="{93595FC8-3956-9F48-8F97-CF702756D1B4}" type="presOf" srcId="{300A440D-25D4-1F42-A971-CEC0AC77FF8A}" destId="{94D02AE9-4D55-9345-BA26-20AF5B99B114}" srcOrd="0" destOrd="0" presId="urn:microsoft.com/office/officeart/2005/8/layout/gear1"/>
    <dgm:cxn modelId="{90F7DBD8-A3BA-8D41-BC44-1A78EAB976C2}" type="presOf" srcId="{89939F4D-5B7D-CF49-BCB0-6A1BBE7352F3}" destId="{CB5DC0E8-7525-9245-946D-FF487D9A9275}" srcOrd="0" destOrd="0" presId="urn:microsoft.com/office/officeart/2005/8/layout/gear1"/>
    <dgm:cxn modelId="{26E9B5DE-A86B-0F4C-BFF1-C3A3F2749175}" type="presOf" srcId="{F37ACA4F-5E93-0D4D-A149-BE938A2C3C08}" destId="{2D46E493-C4D8-6842-BD05-6426F61EB0B8}" srcOrd="0" destOrd="0" presId="urn:microsoft.com/office/officeart/2005/8/layout/gear1"/>
    <dgm:cxn modelId="{92FECBDE-008B-6C44-B1ED-599A07ACDF47}" type="presOf" srcId="{778D8671-5724-7D4F-87C3-E867BEB937DD}" destId="{5773122E-36EB-6C49-B121-CC69470B0E8E}" srcOrd="2" destOrd="0" presId="urn:microsoft.com/office/officeart/2005/8/layout/gear1"/>
    <dgm:cxn modelId="{EEBB5DDF-0DD0-F64B-A2E2-4F70A8604CD2}" type="presOf" srcId="{5D8DAFC2-1478-9141-98D8-FCF6734DB2C4}" destId="{3C4CC788-A0A0-2847-9C7F-D5BF26440CEB}" srcOrd="1" destOrd="0" presId="urn:microsoft.com/office/officeart/2005/8/layout/gear1"/>
    <dgm:cxn modelId="{313328DE-7601-3A4D-AF85-4C71A7B1A002}" type="presParOf" srcId="{61272657-3ECE-6044-85CB-3D06F66C8494}" destId="{DFFDC0F4-2F84-2F43-8EC8-06E518B29297}" srcOrd="0" destOrd="0" presId="urn:microsoft.com/office/officeart/2005/8/layout/gear1"/>
    <dgm:cxn modelId="{9625CCCD-D226-AB4A-8819-9C896FF8D9D6}" type="presParOf" srcId="{61272657-3ECE-6044-85CB-3D06F66C8494}" destId="{3C4CC788-A0A0-2847-9C7F-D5BF26440CEB}" srcOrd="1" destOrd="0" presId="urn:microsoft.com/office/officeart/2005/8/layout/gear1"/>
    <dgm:cxn modelId="{30F38B95-6E9F-1D40-A57A-5B9629C42C55}" type="presParOf" srcId="{61272657-3ECE-6044-85CB-3D06F66C8494}" destId="{9225011B-EF56-E245-9CB4-0171C933F722}" srcOrd="2" destOrd="0" presId="urn:microsoft.com/office/officeart/2005/8/layout/gear1"/>
    <dgm:cxn modelId="{127F2192-321E-B441-840A-88EB402B7BC8}" type="presParOf" srcId="{61272657-3ECE-6044-85CB-3D06F66C8494}" destId="{7A406FA2-5117-194C-BB6F-AAFD7029EF58}" srcOrd="3" destOrd="0" presId="urn:microsoft.com/office/officeart/2005/8/layout/gear1"/>
    <dgm:cxn modelId="{9270BF48-96EB-9545-8A13-567C28DF58D3}" type="presParOf" srcId="{61272657-3ECE-6044-85CB-3D06F66C8494}" destId="{4D93214B-267F-DF43-B2DD-0E5B1F5108C8}" srcOrd="4" destOrd="0" presId="urn:microsoft.com/office/officeart/2005/8/layout/gear1"/>
    <dgm:cxn modelId="{E67C396A-F10D-3147-8F76-C85B8A865BDA}" type="presParOf" srcId="{61272657-3ECE-6044-85CB-3D06F66C8494}" destId="{5773122E-36EB-6C49-B121-CC69470B0E8E}" srcOrd="5" destOrd="0" presId="urn:microsoft.com/office/officeart/2005/8/layout/gear1"/>
    <dgm:cxn modelId="{C835287F-A4E4-A44C-921D-DA67D20974A9}" type="presParOf" srcId="{61272657-3ECE-6044-85CB-3D06F66C8494}" destId="{2D46E493-C4D8-6842-BD05-6426F61EB0B8}" srcOrd="6" destOrd="0" presId="urn:microsoft.com/office/officeart/2005/8/layout/gear1"/>
    <dgm:cxn modelId="{5DFB8BCE-B71A-8A42-A5EA-94FA2121F2CB}" type="presParOf" srcId="{61272657-3ECE-6044-85CB-3D06F66C8494}" destId="{E6420502-A7E9-C64A-B10A-814B95E5F015}" srcOrd="7" destOrd="0" presId="urn:microsoft.com/office/officeart/2005/8/layout/gear1"/>
    <dgm:cxn modelId="{E7D9FDBC-A9A5-0342-AF6D-FAD6EB9E3B7C}" type="presParOf" srcId="{61272657-3ECE-6044-85CB-3D06F66C8494}" destId="{7F176002-1C9D-D24E-A18D-E8DEDA8621F8}" srcOrd="8" destOrd="0" presId="urn:microsoft.com/office/officeart/2005/8/layout/gear1"/>
    <dgm:cxn modelId="{D0B7F829-C5CF-AE40-B8AF-63441E00FCCA}" type="presParOf" srcId="{61272657-3ECE-6044-85CB-3D06F66C8494}" destId="{8F51DD4B-C83D-4845-BA1C-10346B9F7CAE}" srcOrd="9" destOrd="0" presId="urn:microsoft.com/office/officeart/2005/8/layout/gear1"/>
    <dgm:cxn modelId="{6A8F0A52-940D-7E44-BA29-2CB875737F00}" type="presParOf" srcId="{61272657-3ECE-6044-85CB-3D06F66C8494}" destId="{CB5DC0E8-7525-9245-946D-FF487D9A9275}" srcOrd="10" destOrd="0" presId="urn:microsoft.com/office/officeart/2005/8/layout/gear1"/>
    <dgm:cxn modelId="{AA87AD87-53AD-4A46-92F4-132200FEDAA4}" type="presParOf" srcId="{61272657-3ECE-6044-85CB-3D06F66C8494}" destId="{94D02AE9-4D55-9345-BA26-20AF5B99B114}" srcOrd="11" destOrd="0" presId="urn:microsoft.com/office/officeart/2005/8/layout/gear1"/>
    <dgm:cxn modelId="{174AD099-7258-5443-BE06-E216FFE02569}" type="presParOf" srcId="{61272657-3ECE-6044-85CB-3D06F66C8494}" destId="{91FC7065-30B5-B344-80BB-E26A46FFA3F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108EF07-C24C-43CB-841C-144F5F5348C3}" type="doc">
      <dgm:prSet loTypeId="urn:microsoft.com/office/officeart/2005/8/layout/default" loCatId="list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7EE23256-053B-493E-B185-43BF9C239C30}">
      <dgm:prSet/>
      <dgm:spPr/>
      <dgm:t>
        <a:bodyPr/>
        <a:lstStyle/>
        <a:p>
          <a:r>
            <a:rPr lang="en-US" b="0" dirty="0">
              <a:solidFill>
                <a:schemeClr val="tx1"/>
              </a:solidFill>
            </a:rPr>
            <a:t>Focus</a:t>
          </a:r>
        </a:p>
      </dgm:t>
    </dgm:pt>
    <dgm:pt modelId="{CF5CF37C-7FD7-438B-9E6F-14922AE3BB6E}" type="parTrans" cxnId="{7BF6A7A4-EDE6-42CB-92F3-6A4D886C2B1F}">
      <dgm:prSet/>
      <dgm:spPr/>
      <dgm:t>
        <a:bodyPr/>
        <a:lstStyle/>
        <a:p>
          <a:endParaRPr lang="en-US"/>
        </a:p>
      </dgm:t>
    </dgm:pt>
    <dgm:pt modelId="{19A0FFD7-3CF2-41E0-8F2B-415A4988F9D8}" type="sibTrans" cxnId="{7BF6A7A4-EDE6-42CB-92F3-6A4D886C2B1F}">
      <dgm:prSet/>
      <dgm:spPr/>
      <dgm:t>
        <a:bodyPr/>
        <a:lstStyle/>
        <a:p>
          <a:endParaRPr lang="en-US"/>
        </a:p>
      </dgm:t>
    </dgm:pt>
    <dgm:pt modelId="{1D0B6945-6523-4BF8-9896-35EBA6F7C492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Résilience</a:t>
          </a:r>
          <a:endParaRPr lang="en-US" b="0" dirty="0">
            <a:solidFill>
              <a:schemeClr val="tx1"/>
            </a:solidFill>
          </a:endParaRPr>
        </a:p>
      </dgm:t>
    </dgm:pt>
    <dgm:pt modelId="{6598A035-D8B6-429B-9048-5E2A022262C7}" type="parTrans" cxnId="{EBF815F1-80F5-452A-828B-B9FB60B053D2}">
      <dgm:prSet/>
      <dgm:spPr/>
      <dgm:t>
        <a:bodyPr/>
        <a:lstStyle/>
        <a:p>
          <a:endParaRPr lang="en-US"/>
        </a:p>
      </dgm:t>
    </dgm:pt>
    <dgm:pt modelId="{CEDEA3A0-D1EB-40AA-BA88-E7EC8118844C}" type="sibTrans" cxnId="{EBF815F1-80F5-452A-828B-B9FB60B053D2}">
      <dgm:prSet/>
      <dgm:spPr/>
      <dgm:t>
        <a:bodyPr/>
        <a:lstStyle/>
        <a:p>
          <a:endParaRPr lang="en-US"/>
        </a:p>
      </dgm:t>
    </dgm:pt>
    <dgm:pt modelId="{EFEF10B3-D804-4B36-AF0F-390445238874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Obesité</a:t>
          </a:r>
          <a:endParaRPr lang="en-US" b="0" dirty="0">
            <a:solidFill>
              <a:schemeClr val="tx1"/>
            </a:solidFill>
          </a:endParaRPr>
        </a:p>
      </dgm:t>
    </dgm:pt>
    <dgm:pt modelId="{FA26B037-A421-44EA-9B32-6C3A0C1DF53A}" type="parTrans" cxnId="{DF98D85E-0AD8-492A-AF6C-F89D016B127E}">
      <dgm:prSet/>
      <dgm:spPr/>
      <dgm:t>
        <a:bodyPr/>
        <a:lstStyle/>
        <a:p>
          <a:endParaRPr lang="en-US"/>
        </a:p>
      </dgm:t>
    </dgm:pt>
    <dgm:pt modelId="{892FCA75-654D-4EF6-A90A-E2AEC529FE66}" type="sibTrans" cxnId="{DF98D85E-0AD8-492A-AF6C-F89D016B127E}">
      <dgm:prSet/>
      <dgm:spPr/>
      <dgm:t>
        <a:bodyPr/>
        <a:lstStyle/>
        <a:p>
          <a:endParaRPr lang="en-US"/>
        </a:p>
      </dgm:t>
    </dgm:pt>
    <dgm:pt modelId="{37D80C63-CBFF-415C-84D6-0A4EE38E864F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Diabète</a:t>
          </a:r>
          <a:r>
            <a:rPr lang="en-US" b="0" dirty="0">
              <a:solidFill>
                <a:schemeClr val="tx1"/>
              </a:solidFill>
            </a:rPr>
            <a:t> </a:t>
          </a:r>
        </a:p>
      </dgm:t>
    </dgm:pt>
    <dgm:pt modelId="{3BC8720E-B2EF-465A-BD36-0321FB8BBD04}" type="parTrans" cxnId="{B75D6C8F-67F9-4915-A418-95B15A092157}">
      <dgm:prSet/>
      <dgm:spPr/>
      <dgm:t>
        <a:bodyPr/>
        <a:lstStyle/>
        <a:p>
          <a:endParaRPr lang="en-US"/>
        </a:p>
      </dgm:t>
    </dgm:pt>
    <dgm:pt modelId="{8875DF37-9429-4251-9EFA-E70E040D3097}" type="sibTrans" cxnId="{B75D6C8F-67F9-4915-A418-95B15A092157}">
      <dgm:prSet/>
      <dgm:spPr/>
      <dgm:t>
        <a:bodyPr/>
        <a:lstStyle/>
        <a:p>
          <a:endParaRPr lang="en-US"/>
        </a:p>
      </dgm:t>
    </dgm:pt>
    <dgm:pt modelId="{F624A821-A29D-4176-844F-934DE37DEEB6}">
      <dgm:prSet/>
      <dgm:spPr/>
      <dgm:t>
        <a:bodyPr/>
        <a:lstStyle/>
        <a:p>
          <a:r>
            <a:rPr lang="en-US" b="0" dirty="0">
              <a:solidFill>
                <a:schemeClr val="tx1"/>
              </a:solidFill>
            </a:rPr>
            <a:t>Maladies </a:t>
          </a:r>
          <a:r>
            <a:rPr lang="en-US" b="0" dirty="0" err="1">
              <a:solidFill>
                <a:schemeClr val="tx1"/>
              </a:solidFill>
            </a:rPr>
            <a:t>cardiovasculaires</a:t>
          </a:r>
          <a:endParaRPr lang="en-US" b="0" dirty="0">
            <a:solidFill>
              <a:schemeClr val="tx1"/>
            </a:solidFill>
          </a:endParaRPr>
        </a:p>
      </dgm:t>
    </dgm:pt>
    <dgm:pt modelId="{14FB78C8-5F5E-4D1D-998A-A17C266266D0}" type="parTrans" cxnId="{9FF47F34-CF0B-482F-8063-6BF21328A741}">
      <dgm:prSet/>
      <dgm:spPr/>
      <dgm:t>
        <a:bodyPr/>
        <a:lstStyle/>
        <a:p>
          <a:endParaRPr lang="en-US"/>
        </a:p>
      </dgm:t>
    </dgm:pt>
    <dgm:pt modelId="{4D30F688-1C17-4A04-AD52-F29079C0C409}" type="sibTrans" cxnId="{9FF47F34-CF0B-482F-8063-6BF21328A741}">
      <dgm:prSet/>
      <dgm:spPr/>
      <dgm:t>
        <a:bodyPr/>
        <a:lstStyle/>
        <a:p>
          <a:endParaRPr lang="en-US"/>
        </a:p>
      </dgm:t>
    </dgm:pt>
    <dgm:pt modelId="{6B91F83D-A1F9-4304-9EBE-B5940C507E4F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Immunité</a:t>
          </a:r>
          <a:endParaRPr lang="en-US" b="0" dirty="0">
            <a:solidFill>
              <a:schemeClr val="tx1"/>
            </a:solidFill>
          </a:endParaRPr>
        </a:p>
      </dgm:t>
    </dgm:pt>
    <dgm:pt modelId="{F066C238-8E26-440C-847D-D630B56ECAD9}" type="parTrans" cxnId="{0AB60D10-7E6C-4ED7-AEC2-4B7F18C9CC9C}">
      <dgm:prSet/>
      <dgm:spPr/>
      <dgm:t>
        <a:bodyPr/>
        <a:lstStyle/>
        <a:p>
          <a:endParaRPr lang="en-US"/>
        </a:p>
      </dgm:t>
    </dgm:pt>
    <dgm:pt modelId="{D5CB77E8-1D2C-41E8-BD0B-4F925362129C}" type="sibTrans" cxnId="{0AB60D10-7E6C-4ED7-AEC2-4B7F18C9CC9C}">
      <dgm:prSet/>
      <dgm:spPr/>
      <dgm:t>
        <a:bodyPr/>
        <a:lstStyle/>
        <a:p>
          <a:endParaRPr lang="en-US"/>
        </a:p>
      </dgm:t>
    </dgm:pt>
    <dgm:pt modelId="{DF9F353A-95AE-4A63-8FD7-05D1B0FCC018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Rhume</a:t>
          </a:r>
          <a:endParaRPr lang="en-US" b="0" dirty="0">
            <a:solidFill>
              <a:schemeClr val="tx1"/>
            </a:solidFill>
          </a:endParaRPr>
        </a:p>
      </dgm:t>
    </dgm:pt>
    <dgm:pt modelId="{87D949ED-53E6-4D92-A42C-17CFD0E92915}" type="parTrans" cxnId="{8D9AD73D-87C5-4339-9E0F-62B197F9CC4C}">
      <dgm:prSet/>
      <dgm:spPr/>
      <dgm:t>
        <a:bodyPr/>
        <a:lstStyle/>
        <a:p>
          <a:endParaRPr lang="en-US"/>
        </a:p>
      </dgm:t>
    </dgm:pt>
    <dgm:pt modelId="{F5D430E0-35CE-48F0-B2F0-0D16D8A16D52}" type="sibTrans" cxnId="{8D9AD73D-87C5-4339-9E0F-62B197F9CC4C}">
      <dgm:prSet/>
      <dgm:spPr/>
      <dgm:t>
        <a:bodyPr/>
        <a:lstStyle/>
        <a:p>
          <a:endParaRPr lang="en-US"/>
        </a:p>
      </dgm:t>
    </dgm:pt>
    <dgm:pt modelId="{AC87244D-D79D-4154-8140-81EC5706EF6B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Apné</a:t>
          </a:r>
          <a:r>
            <a:rPr lang="en-US" b="0" dirty="0">
              <a:solidFill>
                <a:schemeClr val="tx1"/>
              </a:solidFill>
            </a:rPr>
            <a:t> du </a:t>
          </a:r>
          <a:r>
            <a:rPr lang="en-US" b="0" dirty="0" err="1">
              <a:solidFill>
                <a:schemeClr val="tx1"/>
              </a:solidFill>
            </a:rPr>
            <a:t>sommeil</a:t>
          </a:r>
          <a:endParaRPr lang="en-US" b="0" dirty="0">
            <a:solidFill>
              <a:schemeClr val="tx1"/>
            </a:solidFill>
          </a:endParaRPr>
        </a:p>
      </dgm:t>
    </dgm:pt>
    <dgm:pt modelId="{99E0EE46-0201-4A2D-8123-FD577A0F15B2}" type="parTrans" cxnId="{915BE5C4-9D60-4E98-93B6-FFD03B47786D}">
      <dgm:prSet/>
      <dgm:spPr/>
      <dgm:t>
        <a:bodyPr/>
        <a:lstStyle/>
        <a:p>
          <a:endParaRPr lang="en-US"/>
        </a:p>
      </dgm:t>
    </dgm:pt>
    <dgm:pt modelId="{1DEB979A-F4DF-4214-97B2-171C5A5976EC}" type="sibTrans" cxnId="{915BE5C4-9D60-4E98-93B6-FFD03B47786D}">
      <dgm:prSet/>
      <dgm:spPr/>
      <dgm:t>
        <a:bodyPr/>
        <a:lstStyle/>
        <a:p>
          <a:endParaRPr lang="en-US"/>
        </a:p>
      </dgm:t>
    </dgm:pt>
    <dgm:pt modelId="{3D250BB6-4A66-499B-8478-3F7DFD5A88FC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Métabolisme</a:t>
          </a:r>
          <a:r>
            <a:rPr lang="en-US" b="0" dirty="0">
              <a:solidFill>
                <a:schemeClr val="tx1"/>
              </a:solidFill>
            </a:rPr>
            <a:t> du glucose</a:t>
          </a:r>
        </a:p>
      </dgm:t>
    </dgm:pt>
    <dgm:pt modelId="{6E09A45C-A109-4414-B9C4-A1C870E7A0FD}" type="parTrans" cxnId="{34423F3E-3886-4276-BD22-D4F1089261A6}">
      <dgm:prSet/>
      <dgm:spPr/>
      <dgm:t>
        <a:bodyPr/>
        <a:lstStyle/>
        <a:p>
          <a:endParaRPr lang="en-US"/>
        </a:p>
      </dgm:t>
    </dgm:pt>
    <dgm:pt modelId="{1F9E6467-15ED-47EF-AA1A-8157832E4B93}" type="sibTrans" cxnId="{34423F3E-3886-4276-BD22-D4F1089261A6}">
      <dgm:prSet/>
      <dgm:spPr/>
      <dgm:t>
        <a:bodyPr/>
        <a:lstStyle/>
        <a:p>
          <a:endParaRPr lang="en-US"/>
        </a:p>
      </dgm:t>
    </dgm:pt>
    <dgm:pt modelId="{FBC3947A-2BFE-40E6-A7F9-F85262015F6E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Sensibilité</a:t>
          </a:r>
          <a:r>
            <a:rPr lang="en-US" b="0" dirty="0">
              <a:solidFill>
                <a:schemeClr val="tx1"/>
              </a:solidFill>
            </a:rPr>
            <a:t> </a:t>
          </a:r>
          <a:r>
            <a:rPr lang="en-US" b="0" dirty="0" err="1">
              <a:solidFill>
                <a:schemeClr val="tx1"/>
              </a:solidFill>
            </a:rPr>
            <a:t>à</a:t>
          </a:r>
          <a:r>
            <a:rPr lang="en-US" b="0" dirty="0">
              <a:solidFill>
                <a:schemeClr val="tx1"/>
              </a:solidFill>
            </a:rPr>
            <a:t> </a:t>
          </a:r>
          <a:r>
            <a:rPr lang="en-US" b="0" dirty="0" err="1">
              <a:solidFill>
                <a:schemeClr val="tx1"/>
              </a:solidFill>
            </a:rPr>
            <a:t>l’insuline</a:t>
          </a:r>
          <a:endParaRPr lang="en-US" b="0" dirty="0">
            <a:solidFill>
              <a:schemeClr val="tx1"/>
            </a:solidFill>
          </a:endParaRPr>
        </a:p>
      </dgm:t>
    </dgm:pt>
    <dgm:pt modelId="{C4708DA8-50E4-417D-9986-D225AE5B4BD6}" type="parTrans" cxnId="{E57D6B36-E365-48CE-859F-49416BF749EC}">
      <dgm:prSet/>
      <dgm:spPr/>
      <dgm:t>
        <a:bodyPr/>
        <a:lstStyle/>
        <a:p>
          <a:endParaRPr lang="en-US"/>
        </a:p>
      </dgm:t>
    </dgm:pt>
    <dgm:pt modelId="{50F59CBF-D064-4C96-92EE-7D4DCAAB6F73}" type="sibTrans" cxnId="{E57D6B36-E365-48CE-859F-49416BF749EC}">
      <dgm:prSet/>
      <dgm:spPr/>
      <dgm:t>
        <a:bodyPr/>
        <a:lstStyle/>
        <a:p>
          <a:endParaRPr lang="en-US"/>
        </a:p>
      </dgm:t>
    </dgm:pt>
    <dgm:pt modelId="{E8156DAE-5864-4D91-AC48-D623832F4246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Faim</a:t>
          </a:r>
          <a:r>
            <a:rPr lang="en-US" b="0" dirty="0">
              <a:solidFill>
                <a:schemeClr val="tx1"/>
              </a:solidFill>
            </a:rPr>
            <a:t> et appétit</a:t>
          </a:r>
        </a:p>
      </dgm:t>
    </dgm:pt>
    <dgm:pt modelId="{A3B139FD-7BC0-4389-AFFF-9F4DCD01E139}" type="parTrans" cxnId="{93D7E86C-CB63-4E50-9BEC-48288A413158}">
      <dgm:prSet/>
      <dgm:spPr/>
      <dgm:t>
        <a:bodyPr/>
        <a:lstStyle/>
        <a:p>
          <a:endParaRPr lang="en-US"/>
        </a:p>
      </dgm:t>
    </dgm:pt>
    <dgm:pt modelId="{2C68C78D-24EE-4515-A84F-FFE189F4C39D}" type="sibTrans" cxnId="{93D7E86C-CB63-4E50-9BEC-48288A413158}">
      <dgm:prSet/>
      <dgm:spPr/>
      <dgm:t>
        <a:bodyPr/>
        <a:lstStyle/>
        <a:p>
          <a:endParaRPr lang="en-US"/>
        </a:p>
      </dgm:t>
    </dgm:pt>
    <dgm:pt modelId="{8AB4460A-CEB3-4897-9157-CCB011E79733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Énergie</a:t>
          </a:r>
          <a:r>
            <a:rPr lang="en-US" b="0" dirty="0">
              <a:solidFill>
                <a:schemeClr val="tx1"/>
              </a:solidFill>
            </a:rPr>
            <a:t> et </a:t>
          </a:r>
          <a:r>
            <a:rPr lang="en-US" b="0" dirty="0" err="1">
              <a:solidFill>
                <a:schemeClr val="tx1"/>
              </a:solidFill>
            </a:rPr>
            <a:t>exercice</a:t>
          </a:r>
          <a:endParaRPr lang="en-US" b="0" dirty="0">
            <a:solidFill>
              <a:schemeClr val="tx1"/>
            </a:solidFill>
          </a:endParaRPr>
        </a:p>
      </dgm:t>
    </dgm:pt>
    <dgm:pt modelId="{292832B7-C80D-4E2F-95BD-9F2FDD727186}" type="parTrans" cxnId="{D81EBFF7-AC59-4EBC-8ECC-F496713013EE}">
      <dgm:prSet/>
      <dgm:spPr/>
      <dgm:t>
        <a:bodyPr/>
        <a:lstStyle/>
        <a:p>
          <a:endParaRPr lang="en-US"/>
        </a:p>
      </dgm:t>
    </dgm:pt>
    <dgm:pt modelId="{2B98E89D-0C67-4AE8-957E-813731F58738}" type="sibTrans" cxnId="{D81EBFF7-AC59-4EBC-8ECC-F496713013EE}">
      <dgm:prSet/>
      <dgm:spPr/>
      <dgm:t>
        <a:bodyPr/>
        <a:lstStyle/>
        <a:p>
          <a:endParaRPr lang="en-US"/>
        </a:p>
      </dgm:t>
    </dgm:pt>
    <dgm:pt modelId="{348BA0A1-F6EE-4A91-97E6-555E79CF3060}">
      <dgm:prSet/>
      <dgm:spPr/>
      <dgm:t>
        <a:bodyPr/>
        <a:lstStyle/>
        <a:p>
          <a:r>
            <a:rPr lang="en-US" b="0" dirty="0" err="1">
              <a:solidFill>
                <a:schemeClr val="tx1"/>
              </a:solidFill>
            </a:rPr>
            <a:t>Humeur</a:t>
          </a:r>
          <a:endParaRPr lang="en-US" b="0" dirty="0">
            <a:solidFill>
              <a:schemeClr val="tx1"/>
            </a:solidFill>
          </a:endParaRPr>
        </a:p>
      </dgm:t>
    </dgm:pt>
    <dgm:pt modelId="{F4BE633F-3560-4240-8ABA-1B1D70C76C7B}" type="parTrans" cxnId="{8F767124-824D-49FF-AA21-4E2B7E8B372A}">
      <dgm:prSet/>
      <dgm:spPr/>
      <dgm:t>
        <a:bodyPr/>
        <a:lstStyle/>
        <a:p>
          <a:endParaRPr lang="en-US"/>
        </a:p>
      </dgm:t>
    </dgm:pt>
    <dgm:pt modelId="{FA223E80-E082-4785-9C7E-5E57EFD2827C}" type="sibTrans" cxnId="{8F767124-824D-49FF-AA21-4E2B7E8B372A}">
      <dgm:prSet/>
      <dgm:spPr/>
      <dgm:t>
        <a:bodyPr/>
        <a:lstStyle/>
        <a:p>
          <a:endParaRPr lang="en-US"/>
        </a:p>
      </dgm:t>
    </dgm:pt>
    <dgm:pt modelId="{DB928376-B24C-43F6-A059-B39A953AAF1D}">
      <dgm:prSet/>
      <dgm:spPr/>
      <dgm:t>
        <a:bodyPr/>
        <a:lstStyle/>
        <a:p>
          <a:r>
            <a:rPr lang="en-US" b="0" dirty="0">
              <a:solidFill>
                <a:schemeClr val="tx1"/>
              </a:solidFill>
            </a:rPr>
            <a:t>Choix </a:t>
          </a:r>
          <a:r>
            <a:rPr lang="en-US" b="0" dirty="0" err="1">
              <a:solidFill>
                <a:schemeClr val="tx1"/>
              </a:solidFill>
            </a:rPr>
            <a:t>alimentaires</a:t>
          </a:r>
          <a:endParaRPr lang="en-US" b="0" dirty="0">
            <a:solidFill>
              <a:schemeClr val="tx1"/>
            </a:solidFill>
          </a:endParaRPr>
        </a:p>
      </dgm:t>
    </dgm:pt>
    <dgm:pt modelId="{9A7FE6B0-6C97-4FF4-9E6D-CF9170F063A4}" type="parTrans" cxnId="{181C81BA-5925-407C-955B-C4EC3BD98613}">
      <dgm:prSet/>
      <dgm:spPr/>
      <dgm:t>
        <a:bodyPr/>
        <a:lstStyle/>
        <a:p>
          <a:endParaRPr lang="en-US"/>
        </a:p>
      </dgm:t>
    </dgm:pt>
    <dgm:pt modelId="{74A4BBA7-A33B-4A44-8ED6-6869228F7721}" type="sibTrans" cxnId="{181C81BA-5925-407C-955B-C4EC3BD98613}">
      <dgm:prSet/>
      <dgm:spPr/>
      <dgm:t>
        <a:bodyPr/>
        <a:lstStyle/>
        <a:p>
          <a:endParaRPr lang="en-US"/>
        </a:p>
      </dgm:t>
    </dgm:pt>
    <dgm:pt modelId="{1A3003A1-1BA9-744F-8D9C-513F5C5D63E3}" type="pres">
      <dgm:prSet presAssocID="{5108EF07-C24C-43CB-841C-144F5F5348C3}" presName="diagram" presStyleCnt="0">
        <dgm:presLayoutVars>
          <dgm:dir/>
          <dgm:resizeHandles val="exact"/>
        </dgm:presLayoutVars>
      </dgm:prSet>
      <dgm:spPr/>
    </dgm:pt>
    <dgm:pt modelId="{FFBB60C5-7D11-9149-B77A-E4B67064F2C5}" type="pres">
      <dgm:prSet presAssocID="{7EE23256-053B-493E-B185-43BF9C239C30}" presName="node" presStyleLbl="node1" presStyleIdx="0" presStyleCnt="14">
        <dgm:presLayoutVars>
          <dgm:bulletEnabled val="1"/>
        </dgm:presLayoutVars>
      </dgm:prSet>
      <dgm:spPr/>
    </dgm:pt>
    <dgm:pt modelId="{7DD36F53-B861-DB40-B08E-93CBFF2167C3}" type="pres">
      <dgm:prSet presAssocID="{19A0FFD7-3CF2-41E0-8F2B-415A4988F9D8}" presName="sibTrans" presStyleCnt="0"/>
      <dgm:spPr/>
    </dgm:pt>
    <dgm:pt modelId="{F065E942-94E3-B445-A2BB-EFD1F7BC1215}" type="pres">
      <dgm:prSet presAssocID="{1D0B6945-6523-4BF8-9896-35EBA6F7C492}" presName="node" presStyleLbl="node1" presStyleIdx="1" presStyleCnt="14">
        <dgm:presLayoutVars>
          <dgm:bulletEnabled val="1"/>
        </dgm:presLayoutVars>
      </dgm:prSet>
      <dgm:spPr/>
    </dgm:pt>
    <dgm:pt modelId="{64EA8E0A-69F1-844D-9FE5-C082797071C8}" type="pres">
      <dgm:prSet presAssocID="{CEDEA3A0-D1EB-40AA-BA88-E7EC8118844C}" presName="sibTrans" presStyleCnt="0"/>
      <dgm:spPr/>
    </dgm:pt>
    <dgm:pt modelId="{9328714F-2297-E14C-B4A3-9D32F4202FA6}" type="pres">
      <dgm:prSet presAssocID="{EFEF10B3-D804-4B36-AF0F-390445238874}" presName="node" presStyleLbl="node1" presStyleIdx="2" presStyleCnt="14">
        <dgm:presLayoutVars>
          <dgm:bulletEnabled val="1"/>
        </dgm:presLayoutVars>
      </dgm:prSet>
      <dgm:spPr/>
    </dgm:pt>
    <dgm:pt modelId="{D783CD67-A2A8-ED4D-9865-F5DCCABD9115}" type="pres">
      <dgm:prSet presAssocID="{892FCA75-654D-4EF6-A90A-E2AEC529FE66}" presName="sibTrans" presStyleCnt="0"/>
      <dgm:spPr/>
    </dgm:pt>
    <dgm:pt modelId="{D11DB4BE-A8EE-3642-8557-198E4B6D5CC5}" type="pres">
      <dgm:prSet presAssocID="{37D80C63-CBFF-415C-84D6-0A4EE38E864F}" presName="node" presStyleLbl="node1" presStyleIdx="3" presStyleCnt="14">
        <dgm:presLayoutVars>
          <dgm:bulletEnabled val="1"/>
        </dgm:presLayoutVars>
      </dgm:prSet>
      <dgm:spPr/>
    </dgm:pt>
    <dgm:pt modelId="{69B755C9-B1B2-774B-A823-67634A07FABE}" type="pres">
      <dgm:prSet presAssocID="{8875DF37-9429-4251-9EFA-E70E040D3097}" presName="sibTrans" presStyleCnt="0"/>
      <dgm:spPr/>
    </dgm:pt>
    <dgm:pt modelId="{070E6CD8-CBFA-B546-855B-3FA060853BD3}" type="pres">
      <dgm:prSet presAssocID="{F624A821-A29D-4176-844F-934DE37DEEB6}" presName="node" presStyleLbl="node1" presStyleIdx="4" presStyleCnt="14">
        <dgm:presLayoutVars>
          <dgm:bulletEnabled val="1"/>
        </dgm:presLayoutVars>
      </dgm:prSet>
      <dgm:spPr/>
    </dgm:pt>
    <dgm:pt modelId="{9865E902-135C-3F47-845A-9104F952C3B1}" type="pres">
      <dgm:prSet presAssocID="{4D30F688-1C17-4A04-AD52-F29079C0C409}" presName="sibTrans" presStyleCnt="0"/>
      <dgm:spPr/>
    </dgm:pt>
    <dgm:pt modelId="{ADDBD566-B6B6-1848-8354-CDFB2F1184B7}" type="pres">
      <dgm:prSet presAssocID="{6B91F83D-A1F9-4304-9EBE-B5940C507E4F}" presName="node" presStyleLbl="node1" presStyleIdx="5" presStyleCnt="14">
        <dgm:presLayoutVars>
          <dgm:bulletEnabled val="1"/>
        </dgm:presLayoutVars>
      </dgm:prSet>
      <dgm:spPr/>
    </dgm:pt>
    <dgm:pt modelId="{47067B99-32E3-C146-8AE1-F603C8DED8E8}" type="pres">
      <dgm:prSet presAssocID="{D5CB77E8-1D2C-41E8-BD0B-4F925362129C}" presName="sibTrans" presStyleCnt="0"/>
      <dgm:spPr/>
    </dgm:pt>
    <dgm:pt modelId="{4A6D9546-BBB8-B44E-AEAE-D09A816A0DB9}" type="pres">
      <dgm:prSet presAssocID="{DF9F353A-95AE-4A63-8FD7-05D1B0FCC018}" presName="node" presStyleLbl="node1" presStyleIdx="6" presStyleCnt="14">
        <dgm:presLayoutVars>
          <dgm:bulletEnabled val="1"/>
        </dgm:presLayoutVars>
      </dgm:prSet>
      <dgm:spPr/>
    </dgm:pt>
    <dgm:pt modelId="{04F233AF-542E-C34F-883D-E10971DFA27B}" type="pres">
      <dgm:prSet presAssocID="{F5D430E0-35CE-48F0-B2F0-0D16D8A16D52}" presName="sibTrans" presStyleCnt="0"/>
      <dgm:spPr/>
    </dgm:pt>
    <dgm:pt modelId="{04185621-2BF9-A84B-9005-C102B1C3DA8E}" type="pres">
      <dgm:prSet presAssocID="{AC87244D-D79D-4154-8140-81EC5706EF6B}" presName="node" presStyleLbl="node1" presStyleIdx="7" presStyleCnt="14">
        <dgm:presLayoutVars>
          <dgm:bulletEnabled val="1"/>
        </dgm:presLayoutVars>
      </dgm:prSet>
      <dgm:spPr/>
    </dgm:pt>
    <dgm:pt modelId="{AADD43B6-C809-6645-A184-DFC11DCE06FB}" type="pres">
      <dgm:prSet presAssocID="{1DEB979A-F4DF-4214-97B2-171C5A5976EC}" presName="sibTrans" presStyleCnt="0"/>
      <dgm:spPr/>
    </dgm:pt>
    <dgm:pt modelId="{E8A5BAB7-8CB1-EB4D-8C3C-D82B440C099D}" type="pres">
      <dgm:prSet presAssocID="{3D250BB6-4A66-499B-8478-3F7DFD5A88FC}" presName="node" presStyleLbl="node1" presStyleIdx="8" presStyleCnt="14">
        <dgm:presLayoutVars>
          <dgm:bulletEnabled val="1"/>
        </dgm:presLayoutVars>
      </dgm:prSet>
      <dgm:spPr/>
    </dgm:pt>
    <dgm:pt modelId="{C2BEFB40-5B34-8C4A-8005-1DB90C70B5C3}" type="pres">
      <dgm:prSet presAssocID="{1F9E6467-15ED-47EF-AA1A-8157832E4B93}" presName="sibTrans" presStyleCnt="0"/>
      <dgm:spPr/>
    </dgm:pt>
    <dgm:pt modelId="{A0DC9D80-0CAA-014F-AD56-12E4FEFDC00C}" type="pres">
      <dgm:prSet presAssocID="{FBC3947A-2BFE-40E6-A7F9-F85262015F6E}" presName="node" presStyleLbl="node1" presStyleIdx="9" presStyleCnt="14">
        <dgm:presLayoutVars>
          <dgm:bulletEnabled val="1"/>
        </dgm:presLayoutVars>
      </dgm:prSet>
      <dgm:spPr/>
    </dgm:pt>
    <dgm:pt modelId="{DB66BA3C-90F9-D14E-A512-45C9B510D297}" type="pres">
      <dgm:prSet presAssocID="{50F59CBF-D064-4C96-92EE-7D4DCAAB6F73}" presName="sibTrans" presStyleCnt="0"/>
      <dgm:spPr/>
    </dgm:pt>
    <dgm:pt modelId="{B749ABAA-4C33-8447-82C1-E24F6F121357}" type="pres">
      <dgm:prSet presAssocID="{E8156DAE-5864-4D91-AC48-D623832F4246}" presName="node" presStyleLbl="node1" presStyleIdx="10" presStyleCnt="14">
        <dgm:presLayoutVars>
          <dgm:bulletEnabled val="1"/>
        </dgm:presLayoutVars>
      </dgm:prSet>
      <dgm:spPr/>
    </dgm:pt>
    <dgm:pt modelId="{5B695DB0-F91B-E24A-9F6A-CB6A941A7995}" type="pres">
      <dgm:prSet presAssocID="{2C68C78D-24EE-4515-A84F-FFE189F4C39D}" presName="sibTrans" presStyleCnt="0"/>
      <dgm:spPr/>
    </dgm:pt>
    <dgm:pt modelId="{7A9B52F6-71DB-2448-A539-79922CA660F8}" type="pres">
      <dgm:prSet presAssocID="{8AB4460A-CEB3-4897-9157-CCB011E79733}" presName="node" presStyleLbl="node1" presStyleIdx="11" presStyleCnt="14">
        <dgm:presLayoutVars>
          <dgm:bulletEnabled val="1"/>
        </dgm:presLayoutVars>
      </dgm:prSet>
      <dgm:spPr/>
    </dgm:pt>
    <dgm:pt modelId="{0CCDE55F-78A2-7E4D-8BA0-3A090D1124CB}" type="pres">
      <dgm:prSet presAssocID="{2B98E89D-0C67-4AE8-957E-813731F58738}" presName="sibTrans" presStyleCnt="0"/>
      <dgm:spPr/>
    </dgm:pt>
    <dgm:pt modelId="{3047AA08-BDEE-3144-93DD-6B6FBF8AE1BA}" type="pres">
      <dgm:prSet presAssocID="{348BA0A1-F6EE-4A91-97E6-555E79CF3060}" presName="node" presStyleLbl="node1" presStyleIdx="12" presStyleCnt="14">
        <dgm:presLayoutVars>
          <dgm:bulletEnabled val="1"/>
        </dgm:presLayoutVars>
      </dgm:prSet>
      <dgm:spPr/>
    </dgm:pt>
    <dgm:pt modelId="{D479C8E3-8748-054E-A6F7-F6472663FBDB}" type="pres">
      <dgm:prSet presAssocID="{FA223E80-E082-4785-9C7E-5E57EFD2827C}" presName="sibTrans" presStyleCnt="0"/>
      <dgm:spPr/>
    </dgm:pt>
    <dgm:pt modelId="{90BAFEB9-B49D-4443-B244-52E5AADA2621}" type="pres">
      <dgm:prSet presAssocID="{DB928376-B24C-43F6-A059-B39A953AAF1D}" presName="node" presStyleLbl="node1" presStyleIdx="13" presStyleCnt="14">
        <dgm:presLayoutVars>
          <dgm:bulletEnabled val="1"/>
        </dgm:presLayoutVars>
      </dgm:prSet>
      <dgm:spPr/>
    </dgm:pt>
  </dgm:ptLst>
  <dgm:cxnLst>
    <dgm:cxn modelId="{CEB7FB07-FEDE-1548-AB38-0AFE27E0C04F}" type="presOf" srcId="{DB928376-B24C-43F6-A059-B39A953AAF1D}" destId="{90BAFEB9-B49D-4443-B244-52E5AADA2621}" srcOrd="0" destOrd="0" presId="urn:microsoft.com/office/officeart/2005/8/layout/default"/>
    <dgm:cxn modelId="{65DA790C-79D6-7049-A3D3-25E517E5E92A}" type="presOf" srcId="{5108EF07-C24C-43CB-841C-144F5F5348C3}" destId="{1A3003A1-1BA9-744F-8D9C-513F5C5D63E3}" srcOrd="0" destOrd="0" presId="urn:microsoft.com/office/officeart/2005/8/layout/default"/>
    <dgm:cxn modelId="{0AB60D10-7E6C-4ED7-AEC2-4B7F18C9CC9C}" srcId="{5108EF07-C24C-43CB-841C-144F5F5348C3}" destId="{6B91F83D-A1F9-4304-9EBE-B5940C507E4F}" srcOrd="5" destOrd="0" parTransId="{F066C238-8E26-440C-847D-D630B56ECAD9}" sibTransId="{D5CB77E8-1D2C-41E8-BD0B-4F925362129C}"/>
    <dgm:cxn modelId="{906CD112-05E4-BE48-8A2D-9FE9A8EFE05F}" type="presOf" srcId="{8AB4460A-CEB3-4897-9157-CCB011E79733}" destId="{7A9B52F6-71DB-2448-A539-79922CA660F8}" srcOrd="0" destOrd="0" presId="urn:microsoft.com/office/officeart/2005/8/layout/default"/>
    <dgm:cxn modelId="{9A3FE016-50A7-854F-8A1C-B373A8E78790}" type="presOf" srcId="{AC87244D-D79D-4154-8140-81EC5706EF6B}" destId="{04185621-2BF9-A84B-9005-C102B1C3DA8E}" srcOrd="0" destOrd="0" presId="urn:microsoft.com/office/officeart/2005/8/layout/default"/>
    <dgm:cxn modelId="{8F767124-824D-49FF-AA21-4E2B7E8B372A}" srcId="{5108EF07-C24C-43CB-841C-144F5F5348C3}" destId="{348BA0A1-F6EE-4A91-97E6-555E79CF3060}" srcOrd="12" destOrd="0" parTransId="{F4BE633F-3560-4240-8ABA-1B1D70C76C7B}" sibTransId="{FA223E80-E082-4785-9C7E-5E57EFD2827C}"/>
    <dgm:cxn modelId="{751C632F-81D5-7A4A-89EF-E7A1E8CA9728}" type="presOf" srcId="{3D250BB6-4A66-499B-8478-3F7DFD5A88FC}" destId="{E8A5BAB7-8CB1-EB4D-8C3C-D82B440C099D}" srcOrd="0" destOrd="0" presId="urn:microsoft.com/office/officeart/2005/8/layout/default"/>
    <dgm:cxn modelId="{9FF47F34-CF0B-482F-8063-6BF21328A741}" srcId="{5108EF07-C24C-43CB-841C-144F5F5348C3}" destId="{F624A821-A29D-4176-844F-934DE37DEEB6}" srcOrd="4" destOrd="0" parTransId="{14FB78C8-5F5E-4D1D-998A-A17C266266D0}" sibTransId="{4D30F688-1C17-4A04-AD52-F29079C0C409}"/>
    <dgm:cxn modelId="{E57D6B36-E365-48CE-859F-49416BF749EC}" srcId="{5108EF07-C24C-43CB-841C-144F5F5348C3}" destId="{FBC3947A-2BFE-40E6-A7F9-F85262015F6E}" srcOrd="9" destOrd="0" parTransId="{C4708DA8-50E4-417D-9986-D225AE5B4BD6}" sibTransId="{50F59CBF-D064-4C96-92EE-7D4DCAAB6F73}"/>
    <dgm:cxn modelId="{8D9AD73D-87C5-4339-9E0F-62B197F9CC4C}" srcId="{5108EF07-C24C-43CB-841C-144F5F5348C3}" destId="{DF9F353A-95AE-4A63-8FD7-05D1B0FCC018}" srcOrd="6" destOrd="0" parTransId="{87D949ED-53E6-4D92-A42C-17CFD0E92915}" sibTransId="{F5D430E0-35CE-48F0-B2F0-0D16D8A16D52}"/>
    <dgm:cxn modelId="{34423F3E-3886-4276-BD22-D4F1089261A6}" srcId="{5108EF07-C24C-43CB-841C-144F5F5348C3}" destId="{3D250BB6-4A66-499B-8478-3F7DFD5A88FC}" srcOrd="8" destOrd="0" parTransId="{6E09A45C-A109-4414-B9C4-A1C870E7A0FD}" sibTransId="{1F9E6467-15ED-47EF-AA1A-8157832E4B93}"/>
    <dgm:cxn modelId="{DF98D85E-0AD8-492A-AF6C-F89D016B127E}" srcId="{5108EF07-C24C-43CB-841C-144F5F5348C3}" destId="{EFEF10B3-D804-4B36-AF0F-390445238874}" srcOrd="2" destOrd="0" parTransId="{FA26B037-A421-44EA-9B32-6C3A0C1DF53A}" sibTransId="{892FCA75-654D-4EF6-A90A-E2AEC529FE66}"/>
    <dgm:cxn modelId="{0A8E2745-A6DA-6448-AA43-02816FD29450}" type="presOf" srcId="{6B91F83D-A1F9-4304-9EBE-B5940C507E4F}" destId="{ADDBD566-B6B6-1848-8354-CDFB2F1184B7}" srcOrd="0" destOrd="0" presId="urn:microsoft.com/office/officeart/2005/8/layout/default"/>
    <dgm:cxn modelId="{708AEE68-D892-A641-8C88-774E42281012}" type="presOf" srcId="{7EE23256-053B-493E-B185-43BF9C239C30}" destId="{FFBB60C5-7D11-9149-B77A-E4B67064F2C5}" srcOrd="0" destOrd="0" presId="urn:microsoft.com/office/officeart/2005/8/layout/default"/>
    <dgm:cxn modelId="{93D7E86C-CB63-4E50-9BEC-48288A413158}" srcId="{5108EF07-C24C-43CB-841C-144F5F5348C3}" destId="{E8156DAE-5864-4D91-AC48-D623832F4246}" srcOrd="10" destOrd="0" parTransId="{A3B139FD-7BC0-4389-AFFF-9F4DCD01E139}" sibTransId="{2C68C78D-24EE-4515-A84F-FFE189F4C39D}"/>
    <dgm:cxn modelId="{E2B13977-8060-C74C-A1F4-A2079F8D99A3}" type="presOf" srcId="{37D80C63-CBFF-415C-84D6-0A4EE38E864F}" destId="{D11DB4BE-A8EE-3642-8557-198E4B6D5CC5}" srcOrd="0" destOrd="0" presId="urn:microsoft.com/office/officeart/2005/8/layout/default"/>
    <dgm:cxn modelId="{ECF4807C-8EFB-734B-BF99-C3239FCBD613}" type="presOf" srcId="{EFEF10B3-D804-4B36-AF0F-390445238874}" destId="{9328714F-2297-E14C-B4A3-9D32F4202FA6}" srcOrd="0" destOrd="0" presId="urn:microsoft.com/office/officeart/2005/8/layout/default"/>
    <dgm:cxn modelId="{5E7A8D86-41C4-5448-92CF-7ED2E8761811}" type="presOf" srcId="{348BA0A1-F6EE-4A91-97E6-555E79CF3060}" destId="{3047AA08-BDEE-3144-93DD-6B6FBF8AE1BA}" srcOrd="0" destOrd="0" presId="urn:microsoft.com/office/officeart/2005/8/layout/default"/>
    <dgm:cxn modelId="{74A67989-6F6F-6D43-AB0F-873C551CF218}" type="presOf" srcId="{F624A821-A29D-4176-844F-934DE37DEEB6}" destId="{070E6CD8-CBFA-B546-855B-3FA060853BD3}" srcOrd="0" destOrd="0" presId="urn:microsoft.com/office/officeart/2005/8/layout/default"/>
    <dgm:cxn modelId="{B75D6C8F-67F9-4915-A418-95B15A092157}" srcId="{5108EF07-C24C-43CB-841C-144F5F5348C3}" destId="{37D80C63-CBFF-415C-84D6-0A4EE38E864F}" srcOrd="3" destOrd="0" parTransId="{3BC8720E-B2EF-465A-BD36-0321FB8BBD04}" sibTransId="{8875DF37-9429-4251-9EFA-E70E040D3097}"/>
    <dgm:cxn modelId="{7BF6A7A4-EDE6-42CB-92F3-6A4D886C2B1F}" srcId="{5108EF07-C24C-43CB-841C-144F5F5348C3}" destId="{7EE23256-053B-493E-B185-43BF9C239C30}" srcOrd="0" destOrd="0" parTransId="{CF5CF37C-7FD7-438B-9E6F-14922AE3BB6E}" sibTransId="{19A0FFD7-3CF2-41E0-8F2B-415A4988F9D8}"/>
    <dgm:cxn modelId="{B64BFFB4-0564-3C4C-AAA9-EC2B2DB0535D}" type="presOf" srcId="{E8156DAE-5864-4D91-AC48-D623832F4246}" destId="{B749ABAA-4C33-8447-82C1-E24F6F121357}" srcOrd="0" destOrd="0" presId="urn:microsoft.com/office/officeart/2005/8/layout/default"/>
    <dgm:cxn modelId="{181C81BA-5925-407C-955B-C4EC3BD98613}" srcId="{5108EF07-C24C-43CB-841C-144F5F5348C3}" destId="{DB928376-B24C-43F6-A059-B39A953AAF1D}" srcOrd="13" destOrd="0" parTransId="{9A7FE6B0-6C97-4FF4-9E6D-CF9170F063A4}" sibTransId="{74A4BBA7-A33B-4A44-8ED6-6869228F7721}"/>
    <dgm:cxn modelId="{915BE5C4-9D60-4E98-93B6-FFD03B47786D}" srcId="{5108EF07-C24C-43CB-841C-144F5F5348C3}" destId="{AC87244D-D79D-4154-8140-81EC5706EF6B}" srcOrd="7" destOrd="0" parTransId="{99E0EE46-0201-4A2D-8123-FD577A0F15B2}" sibTransId="{1DEB979A-F4DF-4214-97B2-171C5A5976EC}"/>
    <dgm:cxn modelId="{9B6CDEC9-E976-C745-BA43-A33344EF0A04}" type="presOf" srcId="{1D0B6945-6523-4BF8-9896-35EBA6F7C492}" destId="{F065E942-94E3-B445-A2BB-EFD1F7BC1215}" srcOrd="0" destOrd="0" presId="urn:microsoft.com/office/officeart/2005/8/layout/default"/>
    <dgm:cxn modelId="{3EA02FCF-8102-1341-A786-06A39E8E745E}" type="presOf" srcId="{FBC3947A-2BFE-40E6-A7F9-F85262015F6E}" destId="{A0DC9D80-0CAA-014F-AD56-12E4FEFDC00C}" srcOrd="0" destOrd="0" presId="urn:microsoft.com/office/officeart/2005/8/layout/default"/>
    <dgm:cxn modelId="{E1B228F0-3285-254D-9516-B1E96A99ADE7}" type="presOf" srcId="{DF9F353A-95AE-4A63-8FD7-05D1B0FCC018}" destId="{4A6D9546-BBB8-B44E-AEAE-D09A816A0DB9}" srcOrd="0" destOrd="0" presId="urn:microsoft.com/office/officeart/2005/8/layout/default"/>
    <dgm:cxn modelId="{EBF815F1-80F5-452A-828B-B9FB60B053D2}" srcId="{5108EF07-C24C-43CB-841C-144F5F5348C3}" destId="{1D0B6945-6523-4BF8-9896-35EBA6F7C492}" srcOrd="1" destOrd="0" parTransId="{6598A035-D8B6-429B-9048-5E2A022262C7}" sibTransId="{CEDEA3A0-D1EB-40AA-BA88-E7EC8118844C}"/>
    <dgm:cxn modelId="{D81EBFF7-AC59-4EBC-8ECC-F496713013EE}" srcId="{5108EF07-C24C-43CB-841C-144F5F5348C3}" destId="{8AB4460A-CEB3-4897-9157-CCB011E79733}" srcOrd="11" destOrd="0" parTransId="{292832B7-C80D-4E2F-95BD-9F2FDD727186}" sibTransId="{2B98E89D-0C67-4AE8-957E-813731F58738}"/>
    <dgm:cxn modelId="{C3776BD2-6898-524A-A16B-6CF4BB6948D7}" type="presParOf" srcId="{1A3003A1-1BA9-744F-8D9C-513F5C5D63E3}" destId="{FFBB60C5-7D11-9149-B77A-E4B67064F2C5}" srcOrd="0" destOrd="0" presId="urn:microsoft.com/office/officeart/2005/8/layout/default"/>
    <dgm:cxn modelId="{3D03FB53-C967-9F41-B66D-BC07C3DF97B9}" type="presParOf" srcId="{1A3003A1-1BA9-744F-8D9C-513F5C5D63E3}" destId="{7DD36F53-B861-DB40-B08E-93CBFF2167C3}" srcOrd="1" destOrd="0" presId="urn:microsoft.com/office/officeart/2005/8/layout/default"/>
    <dgm:cxn modelId="{FBA6C672-190F-8D4F-AEBD-37E9E4EF2A94}" type="presParOf" srcId="{1A3003A1-1BA9-744F-8D9C-513F5C5D63E3}" destId="{F065E942-94E3-B445-A2BB-EFD1F7BC1215}" srcOrd="2" destOrd="0" presId="urn:microsoft.com/office/officeart/2005/8/layout/default"/>
    <dgm:cxn modelId="{102E097C-2786-324B-B19C-191DC8A3F516}" type="presParOf" srcId="{1A3003A1-1BA9-744F-8D9C-513F5C5D63E3}" destId="{64EA8E0A-69F1-844D-9FE5-C082797071C8}" srcOrd="3" destOrd="0" presId="urn:microsoft.com/office/officeart/2005/8/layout/default"/>
    <dgm:cxn modelId="{20977219-0772-F04C-AF8C-775D448F0B0B}" type="presParOf" srcId="{1A3003A1-1BA9-744F-8D9C-513F5C5D63E3}" destId="{9328714F-2297-E14C-B4A3-9D32F4202FA6}" srcOrd="4" destOrd="0" presId="urn:microsoft.com/office/officeart/2005/8/layout/default"/>
    <dgm:cxn modelId="{18CBB2A0-71FB-7344-9275-D26A8F24D2D2}" type="presParOf" srcId="{1A3003A1-1BA9-744F-8D9C-513F5C5D63E3}" destId="{D783CD67-A2A8-ED4D-9865-F5DCCABD9115}" srcOrd="5" destOrd="0" presId="urn:microsoft.com/office/officeart/2005/8/layout/default"/>
    <dgm:cxn modelId="{D284DF0E-45CA-0F4B-8CDD-C3EE197B1B77}" type="presParOf" srcId="{1A3003A1-1BA9-744F-8D9C-513F5C5D63E3}" destId="{D11DB4BE-A8EE-3642-8557-198E4B6D5CC5}" srcOrd="6" destOrd="0" presId="urn:microsoft.com/office/officeart/2005/8/layout/default"/>
    <dgm:cxn modelId="{27958D5C-3AE3-9340-A0E1-89145956FA7E}" type="presParOf" srcId="{1A3003A1-1BA9-744F-8D9C-513F5C5D63E3}" destId="{69B755C9-B1B2-774B-A823-67634A07FABE}" srcOrd="7" destOrd="0" presId="urn:microsoft.com/office/officeart/2005/8/layout/default"/>
    <dgm:cxn modelId="{D9C492E4-D6A7-8B4A-BC74-346B7CA40F05}" type="presParOf" srcId="{1A3003A1-1BA9-744F-8D9C-513F5C5D63E3}" destId="{070E6CD8-CBFA-B546-855B-3FA060853BD3}" srcOrd="8" destOrd="0" presId="urn:microsoft.com/office/officeart/2005/8/layout/default"/>
    <dgm:cxn modelId="{F21476FE-A263-154A-B001-CA4AA404DDE9}" type="presParOf" srcId="{1A3003A1-1BA9-744F-8D9C-513F5C5D63E3}" destId="{9865E902-135C-3F47-845A-9104F952C3B1}" srcOrd="9" destOrd="0" presId="urn:microsoft.com/office/officeart/2005/8/layout/default"/>
    <dgm:cxn modelId="{B5E31FDF-3C8D-8244-B72A-05E5E596AC28}" type="presParOf" srcId="{1A3003A1-1BA9-744F-8D9C-513F5C5D63E3}" destId="{ADDBD566-B6B6-1848-8354-CDFB2F1184B7}" srcOrd="10" destOrd="0" presId="urn:microsoft.com/office/officeart/2005/8/layout/default"/>
    <dgm:cxn modelId="{DEC6F934-C5CE-5548-914C-8279ED5ADC43}" type="presParOf" srcId="{1A3003A1-1BA9-744F-8D9C-513F5C5D63E3}" destId="{47067B99-32E3-C146-8AE1-F603C8DED8E8}" srcOrd="11" destOrd="0" presId="urn:microsoft.com/office/officeart/2005/8/layout/default"/>
    <dgm:cxn modelId="{B4813E3D-F56D-D44B-AFBB-AE594F6389DF}" type="presParOf" srcId="{1A3003A1-1BA9-744F-8D9C-513F5C5D63E3}" destId="{4A6D9546-BBB8-B44E-AEAE-D09A816A0DB9}" srcOrd="12" destOrd="0" presId="urn:microsoft.com/office/officeart/2005/8/layout/default"/>
    <dgm:cxn modelId="{AD5CBDCD-A3A7-1948-A568-671B280DED20}" type="presParOf" srcId="{1A3003A1-1BA9-744F-8D9C-513F5C5D63E3}" destId="{04F233AF-542E-C34F-883D-E10971DFA27B}" srcOrd="13" destOrd="0" presId="urn:microsoft.com/office/officeart/2005/8/layout/default"/>
    <dgm:cxn modelId="{D3D3FE1F-1BBA-FD44-B00B-DB372D36539C}" type="presParOf" srcId="{1A3003A1-1BA9-744F-8D9C-513F5C5D63E3}" destId="{04185621-2BF9-A84B-9005-C102B1C3DA8E}" srcOrd="14" destOrd="0" presId="urn:microsoft.com/office/officeart/2005/8/layout/default"/>
    <dgm:cxn modelId="{6FD32620-2E29-124F-AC6F-5276AB3F4EAE}" type="presParOf" srcId="{1A3003A1-1BA9-744F-8D9C-513F5C5D63E3}" destId="{AADD43B6-C809-6645-A184-DFC11DCE06FB}" srcOrd="15" destOrd="0" presId="urn:microsoft.com/office/officeart/2005/8/layout/default"/>
    <dgm:cxn modelId="{38FC5FBA-871C-2340-BCBB-C20A41EADE9D}" type="presParOf" srcId="{1A3003A1-1BA9-744F-8D9C-513F5C5D63E3}" destId="{E8A5BAB7-8CB1-EB4D-8C3C-D82B440C099D}" srcOrd="16" destOrd="0" presId="urn:microsoft.com/office/officeart/2005/8/layout/default"/>
    <dgm:cxn modelId="{F3B6FFE1-FE36-5244-8EAB-5B4DAD890158}" type="presParOf" srcId="{1A3003A1-1BA9-744F-8D9C-513F5C5D63E3}" destId="{C2BEFB40-5B34-8C4A-8005-1DB90C70B5C3}" srcOrd="17" destOrd="0" presId="urn:microsoft.com/office/officeart/2005/8/layout/default"/>
    <dgm:cxn modelId="{A08E626B-44AB-094A-BDF3-C7EDC58C9343}" type="presParOf" srcId="{1A3003A1-1BA9-744F-8D9C-513F5C5D63E3}" destId="{A0DC9D80-0CAA-014F-AD56-12E4FEFDC00C}" srcOrd="18" destOrd="0" presId="urn:microsoft.com/office/officeart/2005/8/layout/default"/>
    <dgm:cxn modelId="{042B67F1-ECA2-BC48-842C-FF553B0572D1}" type="presParOf" srcId="{1A3003A1-1BA9-744F-8D9C-513F5C5D63E3}" destId="{DB66BA3C-90F9-D14E-A512-45C9B510D297}" srcOrd="19" destOrd="0" presId="urn:microsoft.com/office/officeart/2005/8/layout/default"/>
    <dgm:cxn modelId="{0EAF6C03-73F3-4144-ACAC-114ADD027FE4}" type="presParOf" srcId="{1A3003A1-1BA9-744F-8D9C-513F5C5D63E3}" destId="{B749ABAA-4C33-8447-82C1-E24F6F121357}" srcOrd="20" destOrd="0" presId="urn:microsoft.com/office/officeart/2005/8/layout/default"/>
    <dgm:cxn modelId="{8A6E806D-BE2C-0449-87D9-A9C4870DF402}" type="presParOf" srcId="{1A3003A1-1BA9-744F-8D9C-513F5C5D63E3}" destId="{5B695DB0-F91B-E24A-9F6A-CB6A941A7995}" srcOrd="21" destOrd="0" presId="urn:microsoft.com/office/officeart/2005/8/layout/default"/>
    <dgm:cxn modelId="{8EC347E5-2EAF-4D45-BD13-4B8F598D3443}" type="presParOf" srcId="{1A3003A1-1BA9-744F-8D9C-513F5C5D63E3}" destId="{7A9B52F6-71DB-2448-A539-79922CA660F8}" srcOrd="22" destOrd="0" presId="urn:microsoft.com/office/officeart/2005/8/layout/default"/>
    <dgm:cxn modelId="{F4B882F5-4442-F741-B5B4-1FA7876FD0D7}" type="presParOf" srcId="{1A3003A1-1BA9-744F-8D9C-513F5C5D63E3}" destId="{0CCDE55F-78A2-7E4D-8BA0-3A090D1124CB}" srcOrd="23" destOrd="0" presId="urn:microsoft.com/office/officeart/2005/8/layout/default"/>
    <dgm:cxn modelId="{7A19A266-1B5C-3C4B-AAE5-A0949E2E8418}" type="presParOf" srcId="{1A3003A1-1BA9-744F-8D9C-513F5C5D63E3}" destId="{3047AA08-BDEE-3144-93DD-6B6FBF8AE1BA}" srcOrd="24" destOrd="0" presId="urn:microsoft.com/office/officeart/2005/8/layout/default"/>
    <dgm:cxn modelId="{072D79B2-8633-2243-A4C9-D29EB15A8816}" type="presParOf" srcId="{1A3003A1-1BA9-744F-8D9C-513F5C5D63E3}" destId="{D479C8E3-8748-054E-A6F7-F6472663FBDB}" srcOrd="25" destOrd="0" presId="urn:microsoft.com/office/officeart/2005/8/layout/default"/>
    <dgm:cxn modelId="{BBC78030-F65A-BE4B-A394-8C4D9FF7E8F1}" type="presParOf" srcId="{1A3003A1-1BA9-744F-8D9C-513F5C5D63E3}" destId="{90BAFEB9-B49D-4443-B244-52E5AADA2621}" srcOrd="2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6914A7B-D20C-4E41-B28C-F5A33A0CE0DA}" type="doc">
      <dgm:prSet loTypeId="urn:microsoft.com/office/officeart/2005/8/layout/gear1" loCatId="" qsTypeId="urn:microsoft.com/office/officeart/2005/8/quickstyle/simple1" qsCatId="simple" csTypeId="urn:microsoft.com/office/officeart/2005/8/colors/colorful3" csCatId="colorful" phldr="1"/>
      <dgm:spPr/>
    </dgm:pt>
    <dgm:pt modelId="{5D8DAFC2-1478-9141-98D8-FCF6734DB2C4}">
      <dgm:prSet phldrT="[Text]"/>
      <dgm:spPr/>
      <dgm:t>
        <a:bodyPr/>
        <a:lstStyle/>
        <a:p>
          <a:r>
            <a:rPr lang="en-GB" dirty="0" err="1"/>
            <a:t>Sommeil</a:t>
          </a:r>
          <a:endParaRPr lang="en-GB" dirty="0"/>
        </a:p>
      </dgm:t>
    </dgm:pt>
    <dgm:pt modelId="{78D828C5-B486-D746-A1AF-17C35A49E744}" type="parTrans" cxnId="{3C78039A-8A8F-474A-8785-440C221B44B7}">
      <dgm:prSet/>
      <dgm:spPr/>
      <dgm:t>
        <a:bodyPr/>
        <a:lstStyle/>
        <a:p>
          <a:endParaRPr lang="en-GB"/>
        </a:p>
      </dgm:t>
    </dgm:pt>
    <dgm:pt modelId="{89939F4D-5B7D-CF49-BCB0-6A1BBE7352F3}" type="sibTrans" cxnId="{3C78039A-8A8F-474A-8785-440C221B44B7}">
      <dgm:prSet/>
      <dgm:spPr/>
      <dgm:t>
        <a:bodyPr/>
        <a:lstStyle/>
        <a:p>
          <a:endParaRPr lang="en-GB"/>
        </a:p>
      </dgm:t>
    </dgm:pt>
    <dgm:pt modelId="{778D8671-5724-7D4F-87C3-E867BEB937DD}">
      <dgm:prSet phldrT="[Text]"/>
      <dgm:spPr/>
      <dgm:t>
        <a:bodyPr/>
        <a:lstStyle/>
        <a:p>
          <a:r>
            <a:rPr lang="en-GB" dirty="0" err="1"/>
            <a:t>Activité</a:t>
          </a:r>
          <a:endParaRPr lang="en-GB" dirty="0"/>
        </a:p>
      </dgm:t>
    </dgm:pt>
    <dgm:pt modelId="{6AC969A3-CE6E-844B-8176-9A05107E1436}" type="parTrans" cxnId="{C391ED78-9816-634E-9D8F-C915D68B9A2D}">
      <dgm:prSet/>
      <dgm:spPr/>
      <dgm:t>
        <a:bodyPr/>
        <a:lstStyle/>
        <a:p>
          <a:endParaRPr lang="en-GB"/>
        </a:p>
      </dgm:t>
    </dgm:pt>
    <dgm:pt modelId="{300A440D-25D4-1F42-A971-CEC0AC77FF8A}" type="sibTrans" cxnId="{C391ED78-9816-634E-9D8F-C915D68B9A2D}">
      <dgm:prSet/>
      <dgm:spPr/>
      <dgm:t>
        <a:bodyPr/>
        <a:lstStyle/>
        <a:p>
          <a:endParaRPr lang="en-GB"/>
        </a:p>
      </dgm:t>
    </dgm:pt>
    <dgm:pt modelId="{F37ACA4F-5E93-0D4D-A149-BE938A2C3C08}">
      <dgm:prSet phldrT="[Text]"/>
      <dgm:spPr/>
      <dgm:t>
        <a:bodyPr/>
        <a:lstStyle/>
        <a:p>
          <a:r>
            <a:rPr lang="en-GB" dirty="0"/>
            <a:t>Nutrition</a:t>
          </a:r>
        </a:p>
      </dgm:t>
    </dgm:pt>
    <dgm:pt modelId="{4F0A086E-928E-FF4A-8DC4-D9BEB66C6473}" type="parTrans" cxnId="{8576D9AB-CAFD-1048-9122-0337A3093371}">
      <dgm:prSet/>
      <dgm:spPr/>
      <dgm:t>
        <a:bodyPr/>
        <a:lstStyle/>
        <a:p>
          <a:endParaRPr lang="en-GB"/>
        </a:p>
      </dgm:t>
    </dgm:pt>
    <dgm:pt modelId="{195851A9-83A7-0E40-AECD-5A139A6FC993}" type="sibTrans" cxnId="{8576D9AB-CAFD-1048-9122-0337A3093371}">
      <dgm:prSet/>
      <dgm:spPr/>
      <dgm:t>
        <a:bodyPr/>
        <a:lstStyle/>
        <a:p>
          <a:endParaRPr lang="en-GB"/>
        </a:p>
      </dgm:t>
    </dgm:pt>
    <dgm:pt modelId="{61272657-3ECE-6044-85CB-3D06F66C8494}" type="pres">
      <dgm:prSet presAssocID="{F6914A7B-D20C-4E41-B28C-F5A33A0CE0DA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DFFDC0F4-2F84-2F43-8EC8-06E518B29297}" type="pres">
      <dgm:prSet presAssocID="{5D8DAFC2-1478-9141-98D8-FCF6734DB2C4}" presName="gear1" presStyleLbl="node1" presStyleIdx="0" presStyleCnt="3">
        <dgm:presLayoutVars>
          <dgm:chMax val="1"/>
          <dgm:bulletEnabled val="1"/>
        </dgm:presLayoutVars>
      </dgm:prSet>
      <dgm:spPr/>
    </dgm:pt>
    <dgm:pt modelId="{3C4CC788-A0A0-2847-9C7F-D5BF26440CEB}" type="pres">
      <dgm:prSet presAssocID="{5D8DAFC2-1478-9141-98D8-FCF6734DB2C4}" presName="gear1srcNode" presStyleLbl="node1" presStyleIdx="0" presStyleCnt="3"/>
      <dgm:spPr/>
    </dgm:pt>
    <dgm:pt modelId="{9225011B-EF56-E245-9CB4-0171C933F722}" type="pres">
      <dgm:prSet presAssocID="{5D8DAFC2-1478-9141-98D8-FCF6734DB2C4}" presName="gear1dstNode" presStyleLbl="node1" presStyleIdx="0" presStyleCnt="3"/>
      <dgm:spPr/>
    </dgm:pt>
    <dgm:pt modelId="{7A406FA2-5117-194C-BB6F-AAFD7029EF58}" type="pres">
      <dgm:prSet presAssocID="{778D8671-5724-7D4F-87C3-E867BEB937DD}" presName="gear2" presStyleLbl="node1" presStyleIdx="1" presStyleCnt="3">
        <dgm:presLayoutVars>
          <dgm:chMax val="1"/>
          <dgm:bulletEnabled val="1"/>
        </dgm:presLayoutVars>
      </dgm:prSet>
      <dgm:spPr/>
    </dgm:pt>
    <dgm:pt modelId="{4D93214B-267F-DF43-B2DD-0E5B1F5108C8}" type="pres">
      <dgm:prSet presAssocID="{778D8671-5724-7D4F-87C3-E867BEB937DD}" presName="gear2srcNode" presStyleLbl="node1" presStyleIdx="1" presStyleCnt="3"/>
      <dgm:spPr/>
    </dgm:pt>
    <dgm:pt modelId="{5773122E-36EB-6C49-B121-CC69470B0E8E}" type="pres">
      <dgm:prSet presAssocID="{778D8671-5724-7D4F-87C3-E867BEB937DD}" presName="gear2dstNode" presStyleLbl="node1" presStyleIdx="1" presStyleCnt="3"/>
      <dgm:spPr/>
    </dgm:pt>
    <dgm:pt modelId="{2D46E493-C4D8-6842-BD05-6426F61EB0B8}" type="pres">
      <dgm:prSet presAssocID="{F37ACA4F-5E93-0D4D-A149-BE938A2C3C08}" presName="gear3" presStyleLbl="node1" presStyleIdx="2" presStyleCnt="3"/>
      <dgm:spPr/>
    </dgm:pt>
    <dgm:pt modelId="{E6420502-A7E9-C64A-B10A-814B95E5F015}" type="pres">
      <dgm:prSet presAssocID="{F37ACA4F-5E93-0D4D-A149-BE938A2C3C08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7F176002-1C9D-D24E-A18D-E8DEDA8621F8}" type="pres">
      <dgm:prSet presAssocID="{F37ACA4F-5E93-0D4D-A149-BE938A2C3C08}" presName="gear3srcNode" presStyleLbl="node1" presStyleIdx="2" presStyleCnt="3"/>
      <dgm:spPr/>
    </dgm:pt>
    <dgm:pt modelId="{8F51DD4B-C83D-4845-BA1C-10346B9F7CAE}" type="pres">
      <dgm:prSet presAssocID="{F37ACA4F-5E93-0D4D-A149-BE938A2C3C08}" presName="gear3dstNode" presStyleLbl="node1" presStyleIdx="2" presStyleCnt="3"/>
      <dgm:spPr/>
    </dgm:pt>
    <dgm:pt modelId="{CB5DC0E8-7525-9245-946D-FF487D9A9275}" type="pres">
      <dgm:prSet presAssocID="{89939F4D-5B7D-CF49-BCB0-6A1BBE7352F3}" presName="connector1" presStyleLbl="sibTrans2D1" presStyleIdx="0" presStyleCnt="3"/>
      <dgm:spPr/>
    </dgm:pt>
    <dgm:pt modelId="{94D02AE9-4D55-9345-BA26-20AF5B99B114}" type="pres">
      <dgm:prSet presAssocID="{300A440D-25D4-1F42-A971-CEC0AC77FF8A}" presName="connector2" presStyleLbl="sibTrans2D1" presStyleIdx="1" presStyleCnt="3"/>
      <dgm:spPr/>
    </dgm:pt>
    <dgm:pt modelId="{91FC7065-30B5-B344-80BB-E26A46FFA3F6}" type="pres">
      <dgm:prSet presAssocID="{195851A9-83A7-0E40-AECD-5A139A6FC993}" presName="connector3" presStyleLbl="sibTrans2D1" presStyleIdx="2" presStyleCnt="3"/>
      <dgm:spPr/>
    </dgm:pt>
  </dgm:ptLst>
  <dgm:cxnLst>
    <dgm:cxn modelId="{13F17A03-5DDA-DC43-849A-246CE2487F94}" type="presOf" srcId="{778D8671-5724-7D4F-87C3-E867BEB937DD}" destId="{7A406FA2-5117-194C-BB6F-AAFD7029EF58}" srcOrd="0" destOrd="0" presId="urn:microsoft.com/office/officeart/2005/8/layout/gear1"/>
    <dgm:cxn modelId="{B5824428-4D50-4C43-BAE2-BB89EAC18682}" type="presOf" srcId="{F6914A7B-D20C-4E41-B28C-F5A33A0CE0DA}" destId="{61272657-3ECE-6044-85CB-3D06F66C8494}" srcOrd="0" destOrd="0" presId="urn:microsoft.com/office/officeart/2005/8/layout/gear1"/>
    <dgm:cxn modelId="{733FA839-6A3D-C240-A6D3-C4E230850337}" type="presOf" srcId="{5D8DAFC2-1478-9141-98D8-FCF6734DB2C4}" destId="{9225011B-EF56-E245-9CB4-0171C933F722}" srcOrd="2" destOrd="0" presId="urn:microsoft.com/office/officeart/2005/8/layout/gear1"/>
    <dgm:cxn modelId="{CE21AD3A-080D-B847-AF39-11E42D3DDA94}" type="presOf" srcId="{F37ACA4F-5E93-0D4D-A149-BE938A2C3C08}" destId="{7F176002-1C9D-D24E-A18D-E8DEDA8621F8}" srcOrd="2" destOrd="0" presId="urn:microsoft.com/office/officeart/2005/8/layout/gear1"/>
    <dgm:cxn modelId="{0F2BEB45-7B72-ED47-AD3B-5005EAFCABD6}" type="presOf" srcId="{F37ACA4F-5E93-0D4D-A149-BE938A2C3C08}" destId="{8F51DD4B-C83D-4845-BA1C-10346B9F7CAE}" srcOrd="3" destOrd="0" presId="urn:microsoft.com/office/officeart/2005/8/layout/gear1"/>
    <dgm:cxn modelId="{CA399A6B-9645-F843-B37E-1FDD627A1833}" type="presOf" srcId="{F37ACA4F-5E93-0D4D-A149-BE938A2C3C08}" destId="{E6420502-A7E9-C64A-B10A-814B95E5F015}" srcOrd="1" destOrd="0" presId="urn:microsoft.com/office/officeart/2005/8/layout/gear1"/>
    <dgm:cxn modelId="{C391ED78-9816-634E-9D8F-C915D68B9A2D}" srcId="{F6914A7B-D20C-4E41-B28C-F5A33A0CE0DA}" destId="{778D8671-5724-7D4F-87C3-E867BEB937DD}" srcOrd="1" destOrd="0" parTransId="{6AC969A3-CE6E-844B-8176-9A05107E1436}" sibTransId="{300A440D-25D4-1F42-A971-CEC0AC77FF8A}"/>
    <dgm:cxn modelId="{165F1093-5A62-264D-A2AA-DD94B72395B1}" type="presOf" srcId="{5D8DAFC2-1478-9141-98D8-FCF6734DB2C4}" destId="{DFFDC0F4-2F84-2F43-8EC8-06E518B29297}" srcOrd="0" destOrd="0" presId="urn:microsoft.com/office/officeart/2005/8/layout/gear1"/>
    <dgm:cxn modelId="{3C78039A-8A8F-474A-8785-440C221B44B7}" srcId="{F6914A7B-D20C-4E41-B28C-F5A33A0CE0DA}" destId="{5D8DAFC2-1478-9141-98D8-FCF6734DB2C4}" srcOrd="0" destOrd="0" parTransId="{78D828C5-B486-D746-A1AF-17C35A49E744}" sibTransId="{89939F4D-5B7D-CF49-BCB0-6A1BBE7352F3}"/>
    <dgm:cxn modelId="{B74FEF9F-F403-3545-996C-6CDE78A80047}" type="presOf" srcId="{778D8671-5724-7D4F-87C3-E867BEB937DD}" destId="{4D93214B-267F-DF43-B2DD-0E5B1F5108C8}" srcOrd="1" destOrd="0" presId="urn:microsoft.com/office/officeart/2005/8/layout/gear1"/>
    <dgm:cxn modelId="{CCB717A1-BCBF-7F43-9C2E-AEEF72302B3E}" type="presOf" srcId="{195851A9-83A7-0E40-AECD-5A139A6FC993}" destId="{91FC7065-30B5-B344-80BB-E26A46FFA3F6}" srcOrd="0" destOrd="0" presId="urn:microsoft.com/office/officeart/2005/8/layout/gear1"/>
    <dgm:cxn modelId="{8576D9AB-CAFD-1048-9122-0337A3093371}" srcId="{F6914A7B-D20C-4E41-B28C-F5A33A0CE0DA}" destId="{F37ACA4F-5E93-0D4D-A149-BE938A2C3C08}" srcOrd="2" destOrd="0" parTransId="{4F0A086E-928E-FF4A-8DC4-D9BEB66C6473}" sibTransId="{195851A9-83A7-0E40-AECD-5A139A6FC993}"/>
    <dgm:cxn modelId="{93595FC8-3956-9F48-8F97-CF702756D1B4}" type="presOf" srcId="{300A440D-25D4-1F42-A971-CEC0AC77FF8A}" destId="{94D02AE9-4D55-9345-BA26-20AF5B99B114}" srcOrd="0" destOrd="0" presId="urn:microsoft.com/office/officeart/2005/8/layout/gear1"/>
    <dgm:cxn modelId="{90F7DBD8-A3BA-8D41-BC44-1A78EAB976C2}" type="presOf" srcId="{89939F4D-5B7D-CF49-BCB0-6A1BBE7352F3}" destId="{CB5DC0E8-7525-9245-946D-FF487D9A9275}" srcOrd="0" destOrd="0" presId="urn:microsoft.com/office/officeart/2005/8/layout/gear1"/>
    <dgm:cxn modelId="{26E9B5DE-A86B-0F4C-BFF1-C3A3F2749175}" type="presOf" srcId="{F37ACA4F-5E93-0D4D-A149-BE938A2C3C08}" destId="{2D46E493-C4D8-6842-BD05-6426F61EB0B8}" srcOrd="0" destOrd="0" presId="urn:microsoft.com/office/officeart/2005/8/layout/gear1"/>
    <dgm:cxn modelId="{92FECBDE-008B-6C44-B1ED-599A07ACDF47}" type="presOf" srcId="{778D8671-5724-7D4F-87C3-E867BEB937DD}" destId="{5773122E-36EB-6C49-B121-CC69470B0E8E}" srcOrd="2" destOrd="0" presId="urn:microsoft.com/office/officeart/2005/8/layout/gear1"/>
    <dgm:cxn modelId="{EEBB5DDF-0DD0-F64B-A2E2-4F70A8604CD2}" type="presOf" srcId="{5D8DAFC2-1478-9141-98D8-FCF6734DB2C4}" destId="{3C4CC788-A0A0-2847-9C7F-D5BF26440CEB}" srcOrd="1" destOrd="0" presId="urn:microsoft.com/office/officeart/2005/8/layout/gear1"/>
    <dgm:cxn modelId="{313328DE-7601-3A4D-AF85-4C71A7B1A002}" type="presParOf" srcId="{61272657-3ECE-6044-85CB-3D06F66C8494}" destId="{DFFDC0F4-2F84-2F43-8EC8-06E518B29297}" srcOrd="0" destOrd="0" presId="urn:microsoft.com/office/officeart/2005/8/layout/gear1"/>
    <dgm:cxn modelId="{9625CCCD-D226-AB4A-8819-9C896FF8D9D6}" type="presParOf" srcId="{61272657-3ECE-6044-85CB-3D06F66C8494}" destId="{3C4CC788-A0A0-2847-9C7F-D5BF26440CEB}" srcOrd="1" destOrd="0" presId="urn:microsoft.com/office/officeart/2005/8/layout/gear1"/>
    <dgm:cxn modelId="{30F38B95-6E9F-1D40-A57A-5B9629C42C55}" type="presParOf" srcId="{61272657-3ECE-6044-85CB-3D06F66C8494}" destId="{9225011B-EF56-E245-9CB4-0171C933F722}" srcOrd="2" destOrd="0" presId="urn:microsoft.com/office/officeart/2005/8/layout/gear1"/>
    <dgm:cxn modelId="{127F2192-321E-B441-840A-88EB402B7BC8}" type="presParOf" srcId="{61272657-3ECE-6044-85CB-3D06F66C8494}" destId="{7A406FA2-5117-194C-BB6F-AAFD7029EF58}" srcOrd="3" destOrd="0" presId="urn:microsoft.com/office/officeart/2005/8/layout/gear1"/>
    <dgm:cxn modelId="{9270BF48-96EB-9545-8A13-567C28DF58D3}" type="presParOf" srcId="{61272657-3ECE-6044-85CB-3D06F66C8494}" destId="{4D93214B-267F-DF43-B2DD-0E5B1F5108C8}" srcOrd="4" destOrd="0" presId="urn:microsoft.com/office/officeart/2005/8/layout/gear1"/>
    <dgm:cxn modelId="{E67C396A-F10D-3147-8F76-C85B8A865BDA}" type="presParOf" srcId="{61272657-3ECE-6044-85CB-3D06F66C8494}" destId="{5773122E-36EB-6C49-B121-CC69470B0E8E}" srcOrd="5" destOrd="0" presId="urn:microsoft.com/office/officeart/2005/8/layout/gear1"/>
    <dgm:cxn modelId="{C835287F-A4E4-A44C-921D-DA67D20974A9}" type="presParOf" srcId="{61272657-3ECE-6044-85CB-3D06F66C8494}" destId="{2D46E493-C4D8-6842-BD05-6426F61EB0B8}" srcOrd="6" destOrd="0" presId="urn:microsoft.com/office/officeart/2005/8/layout/gear1"/>
    <dgm:cxn modelId="{5DFB8BCE-B71A-8A42-A5EA-94FA2121F2CB}" type="presParOf" srcId="{61272657-3ECE-6044-85CB-3D06F66C8494}" destId="{E6420502-A7E9-C64A-B10A-814B95E5F015}" srcOrd="7" destOrd="0" presId="urn:microsoft.com/office/officeart/2005/8/layout/gear1"/>
    <dgm:cxn modelId="{E7D9FDBC-A9A5-0342-AF6D-FAD6EB9E3B7C}" type="presParOf" srcId="{61272657-3ECE-6044-85CB-3D06F66C8494}" destId="{7F176002-1C9D-D24E-A18D-E8DEDA8621F8}" srcOrd="8" destOrd="0" presId="urn:microsoft.com/office/officeart/2005/8/layout/gear1"/>
    <dgm:cxn modelId="{D0B7F829-C5CF-AE40-B8AF-63441E00FCCA}" type="presParOf" srcId="{61272657-3ECE-6044-85CB-3D06F66C8494}" destId="{8F51DD4B-C83D-4845-BA1C-10346B9F7CAE}" srcOrd="9" destOrd="0" presId="urn:microsoft.com/office/officeart/2005/8/layout/gear1"/>
    <dgm:cxn modelId="{6A8F0A52-940D-7E44-BA29-2CB875737F00}" type="presParOf" srcId="{61272657-3ECE-6044-85CB-3D06F66C8494}" destId="{CB5DC0E8-7525-9245-946D-FF487D9A9275}" srcOrd="10" destOrd="0" presId="urn:microsoft.com/office/officeart/2005/8/layout/gear1"/>
    <dgm:cxn modelId="{AA87AD87-53AD-4A46-92F4-132200FEDAA4}" type="presParOf" srcId="{61272657-3ECE-6044-85CB-3D06F66C8494}" destId="{94D02AE9-4D55-9345-BA26-20AF5B99B114}" srcOrd="11" destOrd="0" presId="urn:microsoft.com/office/officeart/2005/8/layout/gear1"/>
    <dgm:cxn modelId="{174AD099-7258-5443-BE06-E216FFE02569}" type="presParOf" srcId="{61272657-3ECE-6044-85CB-3D06F66C8494}" destId="{91FC7065-30B5-B344-80BB-E26A46FFA3F6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4AC3BDF2-32E4-4851-A0CA-E6862DEF092D}" type="doc">
      <dgm:prSet loTypeId="urn:microsoft.com/office/officeart/2018/layout/CircleProcess" loCatId="simpleprocesssa" qsTypeId="urn:microsoft.com/office/officeart/2005/8/quickstyle/simple2" qsCatId="simple" csTypeId="urn:microsoft.com/office/officeart/2005/8/colors/accent2_4" csCatId="accent2" phldr="1"/>
      <dgm:spPr/>
      <dgm:t>
        <a:bodyPr/>
        <a:lstStyle/>
        <a:p>
          <a:endParaRPr lang="en-US"/>
        </a:p>
      </dgm:t>
    </dgm:pt>
    <dgm:pt modelId="{3D90CB76-4F61-4EB3-BB59-1015DE95BBA6}">
      <dgm:prSet custT="1"/>
      <dgm:spPr/>
      <dgm:t>
        <a:bodyPr/>
        <a:lstStyle/>
        <a:p>
          <a:r>
            <a:rPr lang="en-GB" sz="4400" b="1" dirty="0">
              <a:latin typeface="Century Gothic" panose="020B0502020202020204" pitchFamily="34" charset="0"/>
            </a:rPr>
            <a:t>50%</a:t>
          </a:r>
        </a:p>
        <a:p>
          <a:r>
            <a:rPr lang="en-GB" sz="2000" b="0" dirty="0" err="1">
              <a:latin typeface="Century Gothic" panose="020B0502020202020204" pitchFamily="34" charset="0"/>
            </a:rPr>
            <a:t>Inconvénient</a:t>
          </a:r>
          <a:r>
            <a:rPr lang="en-GB" sz="2000" b="0" dirty="0">
              <a:latin typeface="Century Gothic" panose="020B0502020202020204" pitchFamily="34" charset="0"/>
            </a:rPr>
            <a:t> </a:t>
          </a:r>
          <a:r>
            <a:rPr lang="en-GB" sz="2000" b="0" dirty="0" err="1">
              <a:latin typeface="Century Gothic" panose="020B0502020202020204" pitchFamily="34" charset="0"/>
            </a:rPr>
            <a:t>ou</a:t>
          </a:r>
          <a:r>
            <a:rPr lang="en-GB" sz="2000" b="0" dirty="0">
              <a:latin typeface="Century Gothic" panose="020B0502020202020204" pitchFamily="34" charset="0"/>
            </a:rPr>
            <a:t> </a:t>
          </a:r>
          <a:r>
            <a:rPr lang="en-GB" sz="2000" b="0" dirty="0" err="1">
              <a:latin typeface="Century Gothic" panose="020B0502020202020204" pitchFamily="34" charset="0"/>
            </a:rPr>
            <a:t>inapproprié</a:t>
          </a:r>
          <a:endParaRPr lang="en-US" sz="2000" b="0" dirty="0">
            <a:latin typeface="Century Gothic" panose="020B0502020202020204" pitchFamily="34" charset="0"/>
          </a:endParaRPr>
        </a:p>
      </dgm:t>
    </dgm:pt>
    <dgm:pt modelId="{D568BA04-7D5D-47BC-B5FC-39494BFE8C5D}" type="parTrans" cxnId="{947867BF-5735-40F0-88A4-36C47E991B5C}">
      <dgm:prSet/>
      <dgm:spPr/>
      <dgm:t>
        <a:bodyPr/>
        <a:lstStyle/>
        <a:p>
          <a:endParaRPr lang="en-US"/>
        </a:p>
      </dgm:t>
    </dgm:pt>
    <dgm:pt modelId="{FDAEBB61-0F30-4C08-A1FE-B14055690350}" type="sibTrans" cxnId="{947867BF-5735-40F0-88A4-36C47E991B5C}">
      <dgm:prSet/>
      <dgm:spPr/>
      <dgm:t>
        <a:bodyPr/>
        <a:lstStyle/>
        <a:p>
          <a:endParaRPr lang="en-US"/>
        </a:p>
      </dgm:t>
    </dgm:pt>
    <dgm:pt modelId="{0E157EC7-151E-4F09-8B32-6013ABAA2013}">
      <dgm:prSet custT="1"/>
      <dgm:spPr/>
      <dgm:t>
        <a:bodyPr/>
        <a:lstStyle/>
        <a:p>
          <a:r>
            <a:rPr lang="en-GB" sz="4400" b="1" dirty="0">
              <a:latin typeface="Century Gothic" panose="020B0502020202020204" pitchFamily="34" charset="0"/>
            </a:rPr>
            <a:t>53%</a:t>
          </a:r>
        </a:p>
        <a:p>
          <a:r>
            <a:rPr lang="en-GB" sz="1800" b="0" dirty="0">
              <a:latin typeface="Century Gothic" panose="020B0502020202020204" pitchFamily="34" charset="0"/>
            </a:rPr>
            <a:t>Culture </a:t>
          </a:r>
          <a:r>
            <a:rPr lang="en-GB" sz="1800" b="0" dirty="0" err="1">
              <a:latin typeface="Century Gothic" panose="020B0502020202020204" pitchFamily="34" charset="0"/>
            </a:rPr>
            <a:t>ou</a:t>
          </a:r>
          <a:r>
            <a:rPr lang="en-GB" sz="1800" b="0" dirty="0">
              <a:latin typeface="Century Gothic" panose="020B0502020202020204" pitchFamily="34" charset="0"/>
            </a:rPr>
            <a:t> manque </a:t>
          </a:r>
          <a:r>
            <a:rPr lang="en-GB" sz="1800" b="0" dirty="0" err="1">
              <a:latin typeface="Century Gothic" panose="020B0502020202020204" pitchFamily="34" charset="0"/>
            </a:rPr>
            <a:t>d’adhésion</a:t>
          </a:r>
          <a:r>
            <a:rPr lang="en-GB" sz="1800" b="0" dirty="0">
              <a:latin typeface="Century Gothic" panose="020B0502020202020204" pitchFamily="34" charset="0"/>
            </a:rPr>
            <a:t> de la haute direction</a:t>
          </a:r>
          <a:r>
            <a:rPr lang="en-GB" sz="1600" b="0" dirty="0">
              <a:latin typeface="Century Gothic" panose="020B0502020202020204" pitchFamily="34" charset="0"/>
            </a:rPr>
            <a:t>
</a:t>
          </a:r>
          <a:endParaRPr lang="en-US" sz="1600" b="0" dirty="0">
            <a:latin typeface="Century Gothic" panose="020B0502020202020204" pitchFamily="34" charset="0"/>
          </a:endParaRPr>
        </a:p>
      </dgm:t>
    </dgm:pt>
    <dgm:pt modelId="{3FBD397F-9940-49CA-B666-D7BFABA9DC08}" type="parTrans" cxnId="{8C88CC51-7F64-44D1-94F9-A07873B0058A}">
      <dgm:prSet/>
      <dgm:spPr/>
      <dgm:t>
        <a:bodyPr/>
        <a:lstStyle/>
        <a:p>
          <a:endParaRPr lang="en-US"/>
        </a:p>
      </dgm:t>
    </dgm:pt>
    <dgm:pt modelId="{93E4889E-A17C-4DB8-A421-5D00E2D5A0F0}" type="sibTrans" cxnId="{8C88CC51-7F64-44D1-94F9-A07873B0058A}">
      <dgm:prSet/>
      <dgm:spPr/>
      <dgm:t>
        <a:bodyPr/>
        <a:lstStyle/>
        <a:p>
          <a:endParaRPr lang="en-US"/>
        </a:p>
      </dgm:t>
    </dgm:pt>
    <dgm:pt modelId="{2CBC14AC-0A27-4815-B2B5-E0430C9517B7}">
      <dgm:prSet custT="1"/>
      <dgm:spPr/>
      <dgm:t>
        <a:bodyPr/>
        <a:lstStyle/>
        <a:p>
          <a:r>
            <a:rPr lang="en-GB" sz="4400" b="1" dirty="0">
              <a:latin typeface="Century Gothic" panose="020B0502020202020204" pitchFamily="34" charset="0"/>
            </a:rPr>
            <a:t>60%</a:t>
          </a:r>
        </a:p>
        <a:p>
          <a:r>
            <a:rPr lang="en-GB" sz="1800" b="0" dirty="0">
              <a:latin typeface="Century Gothic" panose="020B0502020202020204" pitchFamily="34" charset="0"/>
            </a:rPr>
            <a:t>Manque de communication</a:t>
          </a:r>
          <a:r>
            <a:rPr lang="en-GB" sz="1600" b="0" dirty="0">
              <a:latin typeface="Century Gothic" panose="020B0502020202020204" pitchFamily="34" charset="0"/>
            </a:rPr>
            <a:t>
</a:t>
          </a:r>
          <a:endParaRPr lang="en-US" sz="1600" b="0" dirty="0">
            <a:latin typeface="Century Gothic" panose="020B0502020202020204" pitchFamily="34" charset="0"/>
          </a:endParaRPr>
        </a:p>
      </dgm:t>
    </dgm:pt>
    <dgm:pt modelId="{F5DB2C6A-5EF9-45E0-B04F-FE186ECFD56E}" type="parTrans" cxnId="{5006932C-6C55-40AF-9F1D-B8A6D13FFE39}">
      <dgm:prSet/>
      <dgm:spPr/>
      <dgm:t>
        <a:bodyPr/>
        <a:lstStyle/>
        <a:p>
          <a:endParaRPr lang="en-US"/>
        </a:p>
      </dgm:t>
    </dgm:pt>
    <dgm:pt modelId="{4A8B799E-5594-4CA3-92A0-8D96CC08F95C}" type="sibTrans" cxnId="{5006932C-6C55-40AF-9F1D-B8A6D13FFE39}">
      <dgm:prSet/>
      <dgm:spPr/>
      <dgm:t>
        <a:bodyPr/>
        <a:lstStyle/>
        <a:p>
          <a:endParaRPr lang="en-US"/>
        </a:p>
      </dgm:t>
    </dgm:pt>
    <dgm:pt modelId="{041EF1E6-FD39-5140-9FB1-875C4898588E}" type="pres">
      <dgm:prSet presAssocID="{4AC3BDF2-32E4-4851-A0CA-E6862DEF092D}" presName="Name0" presStyleCnt="0">
        <dgm:presLayoutVars>
          <dgm:chMax val="11"/>
          <dgm:chPref val="11"/>
          <dgm:dir/>
          <dgm:resizeHandles/>
        </dgm:presLayoutVars>
      </dgm:prSet>
      <dgm:spPr/>
    </dgm:pt>
    <dgm:pt modelId="{3C455F72-4AD3-0940-8F61-96EA7308739E}" type="pres">
      <dgm:prSet presAssocID="{2CBC14AC-0A27-4815-B2B5-E0430C9517B7}" presName="Accent3" presStyleCnt="0"/>
      <dgm:spPr/>
    </dgm:pt>
    <dgm:pt modelId="{0E841F5A-522B-5A4B-A5D2-585AF442DC72}" type="pres">
      <dgm:prSet presAssocID="{2CBC14AC-0A27-4815-B2B5-E0430C9517B7}" presName="Accent" presStyleLbl="node1" presStyleIdx="0" presStyleCnt="6"/>
      <dgm:spPr/>
    </dgm:pt>
    <dgm:pt modelId="{D49F9356-2715-8D4A-8C7F-F7A0769A259D}" type="pres">
      <dgm:prSet presAssocID="{2CBC14AC-0A27-4815-B2B5-E0430C9517B7}" presName="ParentBackground3" presStyleCnt="0"/>
      <dgm:spPr/>
    </dgm:pt>
    <dgm:pt modelId="{60860869-8568-E546-AF01-9D372C29198C}" type="pres">
      <dgm:prSet presAssocID="{2CBC14AC-0A27-4815-B2B5-E0430C9517B7}" presName="ParentBackground" presStyleLbl="node1" presStyleIdx="1" presStyleCnt="6"/>
      <dgm:spPr/>
    </dgm:pt>
    <dgm:pt modelId="{B5D61C9F-723E-EC4A-8D93-5984D8CC0B66}" type="pres">
      <dgm:prSet presAssocID="{2CBC14AC-0A27-4815-B2B5-E0430C9517B7}" presName="Parent3" presStyleLbl="fgAcc0" presStyleIdx="0" presStyleCnt="0">
        <dgm:presLayoutVars>
          <dgm:chMax val="1"/>
          <dgm:chPref val="1"/>
          <dgm:bulletEnabled val="1"/>
        </dgm:presLayoutVars>
      </dgm:prSet>
      <dgm:spPr/>
    </dgm:pt>
    <dgm:pt modelId="{B1B86EDA-CA70-3C4B-989A-01B1930862FB}" type="pres">
      <dgm:prSet presAssocID="{0E157EC7-151E-4F09-8B32-6013ABAA2013}" presName="Accent2" presStyleCnt="0"/>
      <dgm:spPr/>
    </dgm:pt>
    <dgm:pt modelId="{83904CC3-8811-3743-83D1-038C2726D8AE}" type="pres">
      <dgm:prSet presAssocID="{0E157EC7-151E-4F09-8B32-6013ABAA2013}" presName="Accent" presStyleLbl="node1" presStyleIdx="2" presStyleCnt="6"/>
      <dgm:spPr/>
    </dgm:pt>
    <dgm:pt modelId="{DF95F81C-D019-C744-8CEC-E3B0FADBEDF8}" type="pres">
      <dgm:prSet presAssocID="{0E157EC7-151E-4F09-8B32-6013ABAA2013}" presName="ParentBackground2" presStyleCnt="0"/>
      <dgm:spPr/>
    </dgm:pt>
    <dgm:pt modelId="{859C6764-EA8A-F449-9A47-6A89D8E65BFF}" type="pres">
      <dgm:prSet presAssocID="{0E157EC7-151E-4F09-8B32-6013ABAA2013}" presName="ParentBackground" presStyleLbl="node1" presStyleIdx="3" presStyleCnt="6"/>
      <dgm:spPr/>
    </dgm:pt>
    <dgm:pt modelId="{59DFCF30-CF80-E948-BBAC-5F57F25626ED}" type="pres">
      <dgm:prSet presAssocID="{0E157EC7-151E-4F09-8B32-6013ABAA2013}" presName="Parent2" presStyleLbl="fgAcc0" presStyleIdx="0" presStyleCnt="0">
        <dgm:presLayoutVars>
          <dgm:chMax val="1"/>
          <dgm:chPref val="1"/>
          <dgm:bulletEnabled val="1"/>
        </dgm:presLayoutVars>
      </dgm:prSet>
      <dgm:spPr/>
    </dgm:pt>
    <dgm:pt modelId="{18998168-233C-024C-91A3-387A981D5D04}" type="pres">
      <dgm:prSet presAssocID="{3D90CB76-4F61-4EB3-BB59-1015DE95BBA6}" presName="Accent1" presStyleCnt="0"/>
      <dgm:spPr/>
    </dgm:pt>
    <dgm:pt modelId="{0EF14CEA-6F2A-9142-9539-B289150A278E}" type="pres">
      <dgm:prSet presAssocID="{3D90CB76-4F61-4EB3-BB59-1015DE95BBA6}" presName="Accent" presStyleLbl="node1" presStyleIdx="4" presStyleCnt="6"/>
      <dgm:spPr/>
    </dgm:pt>
    <dgm:pt modelId="{0556E339-D2F7-1841-8024-2E66262F408E}" type="pres">
      <dgm:prSet presAssocID="{3D90CB76-4F61-4EB3-BB59-1015DE95BBA6}" presName="ParentBackground1" presStyleCnt="0"/>
      <dgm:spPr/>
    </dgm:pt>
    <dgm:pt modelId="{38AD0C1B-1F21-BF42-8799-2BBB1A25E467}" type="pres">
      <dgm:prSet presAssocID="{3D90CB76-4F61-4EB3-BB59-1015DE95BBA6}" presName="ParentBackground" presStyleLbl="node1" presStyleIdx="5" presStyleCnt="6"/>
      <dgm:spPr/>
    </dgm:pt>
    <dgm:pt modelId="{B025EB60-55FE-3B49-A08F-96F535A62ED5}" type="pres">
      <dgm:prSet presAssocID="{3D90CB76-4F61-4EB3-BB59-1015DE95BBA6}" presName="Parent1" presStyleLbl="fgAcc0" presStyleIdx="0" presStyleCnt="0">
        <dgm:presLayoutVars>
          <dgm:chMax val="1"/>
          <dgm:chPref val="1"/>
          <dgm:bulletEnabled val="1"/>
        </dgm:presLayoutVars>
      </dgm:prSet>
      <dgm:spPr/>
    </dgm:pt>
  </dgm:ptLst>
  <dgm:cxnLst>
    <dgm:cxn modelId="{4FC82604-3AF0-B940-AD75-206D4F48478B}" type="presOf" srcId="{2CBC14AC-0A27-4815-B2B5-E0430C9517B7}" destId="{60860869-8568-E546-AF01-9D372C29198C}" srcOrd="0" destOrd="0" presId="urn:microsoft.com/office/officeart/2018/layout/CircleProcess"/>
    <dgm:cxn modelId="{5006932C-6C55-40AF-9F1D-B8A6D13FFE39}" srcId="{4AC3BDF2-32E4-4851-A0CA-E6862DEF092D}" destId="{2CBC14AC-0A27-4815-B2B5-E0430C9517B7}" srcOrd="2" destOrd="0" parTransId="{F5DB2C6A-5EF9-45E0-B04F-FE186ECFD56E}" sibTransId="{4A8B799E-5594-4CA3-92A0-8D96CC08F95C}"/>
    <dgm:cxn modelId="{9980074F-9CF9-E94A-9371-9DC2CAD98901}" type="presOf" srcId="{0E157EC7-151E-4F09-8B32-6013ABAA2013}" destId="{859C6764-EA8A-F449-9A47-6A89D8E65BFF}" srcOrd="0" destOrd="0" presId="urn:microsoft.com/office/officeart/2018/layout/CircleProcess"/>
    <dgm:cxn modelId="{8C88CC51-7F64-44D1-94F9-A07873B0058A}" srcId="{4AC3BDF2-32E4-4851-A0CA-E6862DEF092D}" destId="{0E157EC7-151E-4F09-8B32-6013ABAA2013}" srcOrd="1" destOrd="0" parTransId="{3FBD397F-9940-49CA-B666-D7BFABA9DC08}" sibTransId="{93E4889E-A17C-4DB8-A421-5D00E2D5A0F0}"/>
    <dgm:cxn modelId="{ED0D1E72-94E0-4841-9686-23373735EEC9}" type="presOf" srcId="{3D90CB76-4F61-4EB3-BB59-1015DE95BBA6}" destId="{38AD0C1B-1F21-BF42-8799-2BBB1A25E467}" srcOrd="0" destOrd="0" presId="urn:microsoft.com/office/officeart/2018/layout/CircleProcess"/>
    <dgm:cxn modelId="{5558D8A6-200F-6348-8495-A7077BC447E2}" type="presOf" srcId="{2CBC14AC-0A27-4815-B2B5-E0430C9517B7}" destId="{B5D61C9F-723E-EC4A-8D93-5984D8CC0B66}" srcOrd="1" destOrd="0" presId="urn:microsoft.com/office/officeart/2018/layout/CircleProcess"/>
    <dgm:cxn modelId="{947867BF-5735-40F0-88A4-36C47E991B5C}" srcId="{4AC3BDF2-32E4-4851-A0CA-E6862DEF092D}" destId="{3D90CB76-4F61-4EB3-BB59-1015DE95BBA6}" srcOrd="0" destOrd="0" parTransId="{D568BA04-7D5D-47BC-B5FC-39494BFE8C5D}" sibTransId="{FDAEBB61-0F30-4C08-A1FE-B14055690350}"/>
    <dgm:cxn modelId="{1141C4C4-6A90-D64C-B132-98B2D6044BBE}" type="presOf" srcId="{4AC3BDF2-32E4-4851-A0CA-E6862DEF092D}" destId="{041EF1E6-FD39-5140-9FB1-875C4898588E}" srcOrd="0" destOrd="0" presId="urn:microsoft.com/office/officeart/2018/layout/CircleProcess"/>
    <dgm:cxn modelId="{0C82F9E2-6303-CB42-ACAA-C522AD8ADE84}" type="presOf" srcId="{3D90CB76-4F61-4EB3-BB59-1015DE95BBA6}" destId="{B025EB60-55FE-3B49-A08F-96F535A62ED5}" srcOrd="1" destOrd="0" presId="urn:microsoft.com/office/officeart/2018/layout/CircleProcess"/>
    <dgm:cxn modelId="{5B1F77FB-A281-B242-A9A0-58C7EE91C651}" type="presOf" srcId="{0E157EC7-151E-4F09-8B32-6013ABAA2013}" destId="{59DFCF30-CF80-E948-BBAC-5F57F25626ED}" srcOrd="1" destOrd="0" presId="urn:microsoft.com/office/officeart/2018/layout/CircleProcess"/>
    <dgm:cxn modelId="{1AA690AF-1AB7-BD4C-9A08-FCF18CE1C919}" type="presParOf" srcId="{041EF1E6-FD39-5140-9FB1-875C4898588E}" destId="{3C455F72-4AD3-0940-8F61-96EA7308739E}" srcOrd="0" destOrd="0" presId="urn:microsoft.com/office/officeart/2018/layout/CircleProcess"/>
    <dgm:cxn modelId="{61FAF75F-D616-F94B-AA58-0B6239192BC0}" type="presParOf" srcId="{3C455F72-4AD3-0940-8F61-96EA7308739E}" destId="{0E841F5A-522B-5A4B-A5D2-585AF442DC72}" srcOrd="0" destOrd="0" presId="urn:microsoft.com/office/officeart/2018/layout/CircleProcess"/>
    <dgm:cxn modelId="{7B37293C-B19F-934F-B61E-CA5D075C123F}" type="presParOf" srcId="{041EF1E6-FD39-5140-9FB1-875C4898588E}" destId="{D49F9356-2715-8D4A-8C7F-F7A0769A259D}" srcOrd="1" destOrd="0" presId="urn:microsoft.com/office/officeart/2018/layout/CircleProcess"/>
    <dgm:cxn modelId="{826A97D1-F72B-504E-A720-C963D19D498A}" type="presParOf" srcId="{D49F9356-2715-8D4A-8C7F-F7A0769A259D}" destId="{60860869-8568-E546-AF01-9D372C29198C}" srcOrd="0" destOrd="0" presId="urn:microsoft.com/office/officeart/2018/layout/CircleProcess"/>
    <dgm:cxn modelId="{F762851E-8C54-D345-BD77-2625046F89CF}" type="presParOf" srcId="{041EF1E6-FD39-5140-9FB1-875C4898588E}" destId="{B5D61C9F-723E-EC4A-8D93-5984D8CC0B66}" srcOrd="2" destOrd="0" presId="urn:microsoft.com/office/officeart/2018/layout/CircleProcess"/>
    <dgm:cxn modelId="{E8420A28-3E29-D247-8AC8-4B669BF1B222}" type="presParOf" srcId="{041EF1E6-FD39-5140-9FB1-875C4898588E}" destId="{B1B86EDA-CA70-3C4B-989A-01B1930862FB}" srcOrd="3" destOrd="0" presId="urn:microsoft.com/office/officeart/2018/layout/CircleProcess"/>
    <dgm:cxn modelId="{24269DFE-D2B2-A542-B142-D19071289E72}" type="presParOf" srcId="{B1B86EDA-CA70-3C4B-989A-01B1930862FB}" destId="{83904CC3-8811-3743-83D1-038C2726D8AE}" srcOrd="0" destOrd="0" presId="urn:microsoft.com/office/officeart/2018/layout/CircleProcess"/>
    <dgm:cxn modelId="{C3C8BED3-4EA4-2243-AC79-649B04F6A45C}" type="presParOf" srcId="{041EF1E6-FD39-5140-9FB1-875C4898588E}" destId="{DF95F81C-D019-C744-8CEC-E3B0FADBEDF8}" srcOrd="4" destOrd="0" presId="urn:microsoft.com/office/officeart/2018/layout/CircleProcess"/>
    <dgm:cxn modelId="{F1B38E8A-4AC0-D643-A8BA-3925E265E5EB}" type="presParOf" srcId="{DF95F81C-D019-C744-8CEC-E3B0FADBEDF8}" destId="{859C6764-EA8A-F449-9A47-6A89D8E65BFF}" srcOrd="0" destOrd="0" presId="urn:microsoft.com/office/officeart/2018/layout/CircleProcess"/>
    <dgm:cxn modelId="{2FFD9127-6D96-014A-AC5B-771DFEACE706}" type="presParOf" srcId="{041EF1E6-FD39-5140-9FB1-875C4898588E}" destId="{59DFCF30-CF80-E948-BBAC-5F57F25626ED}" srcOrd="5" destOrd="0" presId="urn:microsoft.com/office/officeart/2018/layout/CircleProcess"/>
    <dgm:cxn modelId="{BC99588D-88A4-FD49-A35B-690BDCE1F2D6}" type="presParOf" srcId="{041EF1E6-FD39-5140-9FB1-875C4898588E}" destId="{18998168-233C-024C-91A3-387A981D5D04}" srcOrd="6" destOrd="0" presId="urn:microsoft.com/office/officeart/2018/layout/CircleProcess"/>
    <dgm:cxn modelId="{5AF2D2F6-E31C-2A4B-ABC5-109074C8645D}" type="presParOf" srcId="{18998168-233C-024C-91A3-387A981D5D04}" destId="{0EF14CEA-6F2A-9142-9539-B289150A278E}" srcOrd="0" destOrd="0" presId="urn:microsoft.com/office/officeart/2018/layout/CircleProcess"/>
    <dgm:cxn modelId="{C2F95E68-C1A8-9340-BE8F-882F619BF831}" type="presParOf" srcId="{041EF1E6-FD39-5140-9FB1-875C4898588E}" destId="{0556E339-D2F7-1841-8024-2E66262F408E}" srcOrd="7" destOrd="0" presId="urn:microsoft.com/office/officeart/2018/layout/CircleProcess"/>
    <dgm:cxn modelId="{31E56097-6121-EF43-8A3F-3721D39A6FC3}" type="presParOf" srcId="{0556E339-D2F7-1841-8024-2E66262F408E}" destId="{38AD0C1B-1F21-BF42-8799-2BBB1A25E467}" srcOrd="0" destOrd="0" presId="urn:microsoft.com/office/officeart/2018/layout/CircleProcess"/>
    <dgm:cxn modelId="{4B5DEBA8-A7B3-0D4E-86F1-B445B9E6207B}" type="presParOf" srcId="{041EF1E6-FD39-5140-9FB1-875C4898588E}" destId="{B025EB60-55FE-3B49-A08F-96F535A62ED5}" srcOrd="8" destOrd="0" presId="urn:microsoft.com/office/officeart/2018/layout/Circle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DC9730-AC05-7842-A119-99B0739C6FBC}">
      <dsp:nvSpPr>
        <dsp:cNvPr id="0" name=""/>
        <dsp:cNvSpPr/>
      </dsp:nvSpPr>
      <dsp:spPr>
        <a:xfrm>
          <a:off x="773545" y="2127"/>
          <a:ext cx="2061263" cy="12367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Maladies </a:t>
          </a:r>
          <a:r>
            <a:rPr lang="en-US" sz="2300" kern="1200" dirty="0" err="1"/>
            <a:t>cardiaques</a:t>
          </a:r>
          <a:endParaRPr lang="en-US" sz="2300" kern="1200" dirty="0"/>
        </a:p>
      </dsp:txBody>
      <dsp:txXfrm>
        <a:off x="773545" y="2127"/>
        <a:ext cx="2061263" cy="1236758"/>
      </dsp:txXfrm>
    </dsp:sp>
    <dsp:sp modelId="{1DE13874-E347-0345-BCBF-A94C9E0DDA75}">
      <dsp:nvSpPr>
        <dsp:cNvPr id="0" name=""/>
        <dsp:cNvSpPr/>
      </dsp:nvSpPr>
      <dsp:spPr>
        <a:xfrm>
          <a:off x="3040935" y="2127"/>
          <a:ext cx="2061263" cy="12367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Hypertension </a:t>
          </a:r>
          <a:r>
            <a:rPr lang="en-US" sz="2300" kern="1200" dirty="0" err="1"/>
            <a:t>artérielle</a:t>
          </a:r>
          <a:endParaRPr lang="en-US" sz="2300" kern="1200" dirty="0"/>
        </a:p>
      </dsp:txBody>
      <dsp:txXfrm>
        <a:off x="3040935" y="2127"/>
        <a:ext cx="2061263" cy="1236758"/>
      </dsp:txXfrm>
    </dsp:sp>
    <dsp:sp modelId="{96794AA2-5E75-8440-ABD5-BB0C98493F56}">
      <dsp:nvSpPr>
        <dsp:cNvPr id="0" name=""/>
        <dsp:cNvSpPr/>
      </dsp:nvSpPr>
      <dsp:spPr>
        <a:xfrm>
          <a:off x="5308325" y="2127"/>
          <a:ext cx="2061263" cy="12367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 err="1"/>
            <a:t>Diabète</a:t>
          </a:r>
          <a:endParaRPr lang="en-US" sz="2300" kern="1200" dirty="0"/>
        </a:p>
      </dsp:txBody>
      <dsp:txXfrm>
        <a:off x="5308325" y="2127"/>
        <a:ext cx="2061263" cy="1236758"/>
      </dsp:txXfrm>
    </dsp:sp>
    <dsp:sp modelId="{0CD364C0-A05E-8246-8B99-1BDBA6F35EC7}">
      <dsp:nvSpPr>
        <dsp:cNvPr id="0" name=""/>
        <dsp:cNvSpPr/>
      </dsp:nvSpPr>
      <dsp:spPr>
        <a:xfrm>
          <a:off x="7575714" y="2127"/>
          <a:ext cx="2061263" cy="12367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 err="1"/>
            <a:t>Surpoids</a:t>
          </a:r>
          <a:endParaRPr lang="en-US" sz="2300" kern="1200" dirty="0"/>
        </a:p>
      </dsp:txBody>
      <dsp:txXfrm>
        <a:off x="7575714" y="2127"/>
        <a:ext cx="2061263" cy="1236758"/>
      </dsp:txXfrm>
    </dsp:sp>
    <dsp:sp modelId="{E30FF018-5758-364B-BEEE-225F0DE1ED01}">
      <dsp:nvSpPr>
        <dsp:cNvPr id="0" name=""/>
        <dsp:cNvSpPr/>
      </dsp:nvSpPr>
      <dsp:spPr>
        <a:xfrm>
          <a:off x="773545" y="1445011"/>
          <a:ext cx="2061263" cy="12367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 err="1"/>
            <a:t>Système</a:t>
          </a:r>
          <a:r>
            <a:rPr lang="en-US" sz="2300" kern="1200" dirty="0"/>
            <a:t> </a:t>
          </a:r>
          <a:r>
            <a:rPr lang="en-US" sz="2300" kern="1200" dirty="0" err="1"/>
            <a:t>immunitaire</a:t>
          </a:r>
          <a:r>
            <a:rPr lang="en-US" sz="2300" kern="1200" dirty="0"/>
            <a:t> </a:t>
          </a:r>
          <a:r>
            <a:rPr lang="en-US" sz="2300" kern="1200" dirty="0" err="1"/>
            <a:t>affaibli</a:t>
          </a:r>
          <a:endParaRPr lang="en-US" sz="2300" kern="1200" dirty="0"/>
        </a:p>
      </dsp:txBody>
      <dsp:txXfrm>
        <a:off x="773545" y="1445011"/>
        <a:ext cx="2061263" cy="1236758"/>
      </dsp:txXfrm>
    </dsp:sp>
    <dsp:sp modelId="{105EA56F-42CD-2146-9A88-551068CB78EE}">
      <dsp:nvSpPr>
        <dsp:cNvPr id="0" name=""/>
        <dsp:cNvSpPr/>
      </dsp:nvSpPr>
      <dsp:spPr>
        <a:xfrm>
          <a:off x="3040935" y="1445011"/>
          <a:ext cx="2061263" cy="12367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Troubles gastro-</a:t>
          </a:r>
          <a:r>
            <a:rPr lang="en-US" sz="2300" kern="1200" dirty="0" err="1"/>
            <a:t>intestinaux</a:t>
          </a:r>
          <a:endParaRPr lang="en-US" sz="2300" kern="1200" dirty="0"/>
        </a:p>
      </dsp:txBody>
      <dsp:txXfrm>
        <a:off x="3040935" y="1445011"/>
        <a:ext cx="2061263" cy="1236758"/>
      </dsp:txXfrm>
    </dsp:sp>
    <dsp:sp modelId="{1821568C-3DA1-9042-9205-EA12F525FC01}">
      <dsp:nvSpPr>
        <dsp:cNvPr id="0" name=""/>
        <dsp:cNvSpPr/>
      </dsp:nvSpPr>
      <dsp:spPr>
        <a:xfrm>
          <a:off x="5308325" y="1445011"/>
          <a:ext cx="2061263" cy="12367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Infections </a:t>
          </a:r>
          <a:r>
            <a:rPr lang="en-US" sz="2300" kern="1200" dirty="0" err="1"/>
            <a:t>respiratoires</a:t>
          </a:r>
          <a:endParaRPr lang="en-US" sz="2300" kern="1200" dirty="0"/>
        </a:p>
      </dsp:txBody>
      <dsp:txXfrm>
        <a:off x="5308325" y="1445011"/>
        <a:ext cx="2061263" cy="1236758"/>
      </dsp:txXfrm>
    </dsp:sp>
    <dsp:sp modelId="{EEB9D5E2-68FA-7C4F-8714-6AC95E4BCCFD}">
      <dsp:nvSpPr>
        <dsp:cNvPr id="0" name=""/>
        <dsp:cNvSpPr/>
      </dsp:nvSpPr>
      <dsp:spPr>
        <a:xfrm>
          <a:off x="7575714" y="1445011"/>
          <a:ext cx="2061263" cy="12367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Maladies auto-immunes</a:t>
          </a:r>
        </a:p>
      </dsp:txBody>
      <dsp:txXfrm>
        <a:off x="7575714" y="1445011"/>
        <a:ext cx="2061263" cy="1236758"/>
      </dsp:txXfrm>
    </dsp:sp>
    <dsp:sp modelId="{D1BBC3B1-DA41-444E-A194-3D19F10602DB}">
      <dsp:nvSpPr>
        <dsp:cNvPr id="0" name=""/>
        <dsp:cNvSpPr/>
      </dsp:nvSpPr>
      <dsp:spPr>
        <a:xfrm>
          <a:off x="773545" y="2887896"/>
          <a:ext cx="2061263" cy="12367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 err="1"/>
            <a:t>Insomnie</a:t>
          </a:r>
          <a:endParaRPr lang="en-US" sz="2300" kern="1200" dirty="0"/>
        </a:p>
      </dsp:txBody>
      <dsp:txXfrm>
        <a:off x="773545" y="2887896"/>
        <a:ext cx="2061263" cy="1236758"/>
      </dsp:txXfrm>
    </dsp:sp>
    <dsp:sp modelId="{A84D5467-1A1E-C64A-9050-7E2FEFE75AFA}">
      <dsp:nvSpPr>
        <dsp:cNvPr id="0" name=""/>
        <dsp:cNvSpPr/>
      </dsp:nvSpPr>
      <dsp:spPr>
        <a:xfrm>
          <a:off x="3040935" y="2890023"/>
          <a:ext cx="2061263" cy="12367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Burnout</a:t>
          </a:r>
        </a:p>
      </dsp:txBody>
      <dsp:txXfrm>
        <a:off x="3040935" y="2890023"/>
        <a:ext cx="2061263" cy="1236758"/>
      </dsp:txXfrm>
    </dsp:sp>
    <dsp:sp modelId="{32D7725A-E3AE-EC47-AAA6-CF3900951B77}">
      <dsp:nvSpPr>
        <dsp:cNvPr id="0" name=""/>
        <dsp:cNvSpPr/>
      </dsp:nvSpPr>
      <dsp:spPr>
        <a:xfrm>
          <a:off x="5308325" y="2887896"/>
          <a:ext cx="2061263" cy="12367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 err="1"/>
            <a:t>Dépression</a:t>
          </a:r>
          <a:endParaRPr lang="en-US" sz="2300" kern="1200" dirty="0"/>
        </a:p>
      </dsp:txBody>
      <dsp:txXfrm>
        <a:off x="5308325" y="2887896"/>
        <a:ext cx="2061263" cy="1236758"/>
      </dsp:txXfrm>
    </dsp:sp>
    <dsp:sp modelId="{3086CEEB-AB5E-694C-8BEF-38FAC2A54D14}">
      <dsp:nvSpPr>
        <dsp:cNvPr id="0" name=""/>
        <dsp:cNvSpPr/>
      </dsp:nvSpPr>
      <dsp:spPr>
        <a:xfrm>
          <a:off x="7575714" y="2887896"/>
          <a:ext cx="2061263" cy="1236758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Troubles </a:t>
          </a:r>
          <a:r>
            <a:rPr lang="en-US" sz="2300" kern="1200" dirty="0" err="1"/>
            <a:t>anxieux</a:t>
          </a:r>
          <a:endParaRPr lang="en-US" sz="2300" kern="1200" dirty="0"/>
        </a:p>
      </dsp:txBody>
      <dsp:txXfrm>
        <a:off x="7575714" y="2887896"/>
        <a:ext cx="2061263" cy="1236758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841F5A-522B-5A4B-A5D2-585AF442DC72}">
      <dsp:nvSpPr>
        <dsp:cNvPr id="0" name=""/>
        <dsp:cNvSpPr/>
      </dsp:nvSpPr>
      <dsp:spPr>
        <a:xfrm>
          <a:off x="8178488" y="1207571"/>
          <a:ext cx="3198827" cy="3199419"/>
        </a:xfrm>
        <a:prstGeom prst="ellipse">
          <a:avLst/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0860869-8568-E546-AF01-9D372C29198C}">
      <dsp:nvSpPr>
        <dsp:cNvPr id="0" name=""/>
        <dsp:cNvSpPr/>
      </dsp:nvSpPr>
      <dsp:spPr>
        <a:xfrm>
          <a:off x="8284699" y="1314237"/>
          <a:ext cx="2986405" cy="2986087"/>
        </a:xfrm>
        <a:prstGeom prst="ellipse">
          <a:avLst/>
        </a:prstGeom>
        <a:solidFill>
          <a:schemeClr val="accent2">
            <a:shade val="50000"/>
            <a:hueOff val="163982"/>
            <a:satOff val="-8456"/>
            <a:lumOff val="1671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000" b="1" kern="1200" dirty="0">
              <a:latin typeface="Century Gothic" panose="020B0502020202020204" pitchFamily="34" charset="0"/>
            </a:rPr>
            <a:t>3</a:t>
          </a:r>
          <a:r>
            <a:rPr lang="en-GB" sz="3200" b="0" kern="1200" dirty="0">
              <a:latin typeface="Century Gothic" panose="020B0502020202020204" pitchFamily="34" charset="0"/>
            </a:rPr>
            <a:t>.</a:t>
          </a:r>
          <a:br>
            <a:rPr lang="en-GB" sz="3200" b="0" kern="1200" dirty="0">
              <a:latin typeface="Century Gothic" panose="020B0502020202020204" pitchFamily="34" charset="0"/>
            </a:rPr>
          </a:br>
          <a:r>
            <a:rPr lang="en-GB" sz="2800" b="0" kern="1200" dirty="0" err="1">
              <a:latin typeface="Century Gothic" panose="020B0502020202020204" pitchFamily="34" charset="0"/>
            </a:rPr>
            <a:t>Implé</a:t>
          </a:r>
          <a:r>
            <a:rPr lang="en-GB" sz="2800" b="0" kern="1200" dirty="0">
              <a:latin typeface="Century Gothic" panose="020B0502020202020204" pitchFamily="34" charset="0"/>
            </a:rPr>
            <a:t>-mentation</a:t>
          </a:r>
          <a:endParaRPr lang="en-US" sz="2800" b="0" kern="1200" dirty="0">
            <a:latin typeface="Century Gothic" panose="020B0502020202020204" pitchFamily="34" charset="0"/>
          </a:endParaRPr>
        </a:p>
      </dsp:txBody>
      <dsp:txXfrm>
        <a:off x="8711626" y="1740902"/>
        <a:ext cx="2132551" cy="2132759"/>
      </dsp:txXfrm>
    </dsp:sp>
    <dsp:sp modelId="{83904CC3-8811-3743-83D1-038C2726D8AE}">
      <dsp:nvSpPr>
        <dsp:cNvPr id="0" name=""/>
        <dsp:cNvSpPr/>
      </dsp:nvSpPr>
      <dsp:spPr>
        <a:xfrm rot="2700000">
          <a:off x="4876260" y="1211439"/>
          <a:ext cx="3191123" cy="3191123"/>
        </a:xfrm>
        <a:prstGeom prst="teardrop">
          <a:avLst>
            <a:gd name="adj" fmla="val 100000"/>
          </a:avLst>
        </a:prstGeom>
        <a:solidFill>
          <a:schemeClr val="accent2">
            <a:shade val="50000"/>
            <a:hueOff val="327965"/>
            <a:satOff val="-16911"/>
            <a:lumOff val="3342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59C6764-EA8A-F449-9A47-6A89D8E65BFF}">
      <dsp:nvSpPr>
        <dsp:cNvPr id="0" name=""/>
        <dsp:cNvSpPr/>
      </dsp:nvSpPr>
      <dsp:spPr>
        <a:xfrm>
          <a:off x="4978619" y="1314237"/>
          <a:ext cx="2986405" cy="2986087"/>
        </a:xfrm>
        <a:prstGeom prst="ellipse">
          <a:avLst/>
        </a:prstGeom>
        <a:solidFill>
          <a:schemeClr val="accent2">
            <a:shade val="50000"/>
            <a:hueOff val="491947"/>
            <a:satOff val="-25367"/>
            <a:lumOff val="50136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000" b="1" kern="1200" dirty="0">
              <a:latin typeface="Century Gothic" panose="020B0502020202020204" pitchFamily="34" charset="0"/>
            </a:rPr>
            <a:t>2</a:t>
          </a:r>
          <a:r>
            <a:rPr lang="en-GB" sz="3200" b="0" kern="1200" dirty="0">
              <a:latin typeface="Century Gothic" panose="020B0502020202020204" pitchFamily="34" charset="0"/>
            </a:rPr>
            <a:t>.</a:t>
          </a:r>
          <a:br>
            <a:rPr lang="en-GB" sz="3200" b="0" kern="1200" dirty="0">
              <a:latin typeface="Century Gothic" panose="020B0502020202020204" pitchFamily="34" charset="0"/>
            </a:rPr>
          </a:br>
          <a:r>
            <a:rPr lang="en-GB" sz="2800" b="0" kern="1200" dirty="0" err="1">
              <a:latin typeface="Century Gothic" panose="020B0502020202020204" pitchFamily="34" charset="0"/>
            </a:rPr>
            <a:t>Stratégie</a:t>
          </a:r>
          <a:endParaRPr lang="en-US" sz="2800" b="0" kern="1200" dirty="0">
            <a:latin typeface="Century Gothic" panose="020B0502020202020204" pitchFamily="34" charset="0"/>
          </a:endParaRPr>
        </a:p>
      </dsp:txBody>
      <dsp:txXfrm>
        <a:off x="5405546" y="1740902"/>
        <a:ext cx="2132551" cy="2132759"/>
      </dsp:txXfrm>
    </dsp:sp>
    <dsp:sp modelId="{0EF14CEA-6F2A-9142-9539-B289150A278E}">
      <dsp:nvSpPr>
        <dsp:cNvPr id="0" name=""/>
        <dsp:cNvSpPr/>
      </dsp:nvSpPr>
      <dsp:spPr>
        <a:xfrm rot="2700000">
          <a:off x="1570180" y="1211439"/>
          <a:ext cx="3191123" cy="3191123"/>
        </a:xfrm>
        <a:prstGeom prst="teardrop">
          <a:avLst>
            <a:gd name="adj" fmla="val 100000"/>
          </a:avLst>
        </a:prstGeom>
        <a:solidFill>
          <a:schemeClr val="accent2">
            <a:shade val="50000"/>
            <a:hueOff val="327965"/>
            <a:satOff val="-16911"/>
            <a:lumOff val="3342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8AD0C1B-1F21-BF42-8799-2BBB1A25E467}">
      <dsp:nvSpPr>
        <dsp:cNvPr id="0" name=""/>
        <dsp:cNvSpPr/>
      </dsp:nvSpPr>
      <dsp:spPr>
        <a:xfrm>
          <a:off x="1672538" y="1314237"/>
          <a:ext cx="2986405" cy="2986087"/>
        </a:xfrm>
        <a:prstGeom prst="ellipse">
          <a:avLst/>
        </a:prstGeom>
        <a:solidFill>
          <a:schemeClr val="accent2">
            <a:shade val="50000"/>
            <a:hueOff val="163982"/>
            <a:satOff val="-8456"/>
            <a:lumOff val="1671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000" b="1" kern="1200" dirty="0">
              <a:latin typeface="Century Gothic" panose="020B0502020202020204" pitchFamily="34" charset="0"/>
            </a:rPr>
            <a:t>1</a:t>
          </a:r>
          <a:r>
            <a:rPr lang="en-GB" sz="3200" b="0" kern="1200" dirty="0">
              <a:latin typeface="Century Gothic" panose="020B0502020202020204" pitchFamily="34" charset="0"/>
            </a:rPr>
            <a:t>. </a:t>
          </a:r>
          <a:br>
            <a:rPr lang="en-GB" sz="3200" b="0" kern="1200" dirty="0">
              <a:latin typeface="Century Gothic" panose="020B0502020202020204" pitchFamily="34" charset="0"/>
            </a:rPr>
          </a:br>
          <a:r>
            <a:rPr lang="en-GB" sz="2800" b="0" kern="1200" dirty="0">
              <a:latin typeface="Century Gothic" panose="020B0502020202020204" pitchFamily="34" charset="0"/>
            </a:rPr>
            <a:t>Evaluation</a:t>
          </a:r>
          <a:endParaRPr lang="en-US" sz="2800" b="0" kern="1200" dirty="0">
            <a:latin typeface="Century Gothic" panose="020B0502020202020204" pitchFamily="34" charset="0"/>
          </a:endParaRPr>
        </a:p>
      </dsp:txBody>
      <dsp:txXfrm>
        <a:off x="2099465" y="1740902"/>
        <a:ext cx="2132551" cy="2132759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459A2F-37E3-1C4C-93DF-D279199DC1CF}">
      <dsp:nvSpPr>
        <dsp:cNvPr id="0" name=""/>
        <dsp:cNvSpPr/>
      </dsp:nvSpPr>
      <dsp:spPr>
        <a:xfrm>
          <a:off x="0" y="615158"/>
          <a:ext cx="6263640" cy="647595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kern="1200" dirty="0"/>
            <a:t>Work-Life Integrity Standards</a:t>
          </a:r>
          <a:endParaRPr lang="en-US" sz="2700" kern="1200" dirty="0"/>
        </a:p>
      </dsp:txBody>
      <dsp:txXfrm>
        <a:off x="31613" y="646771"/>
        <a:ext cx="6200414" cy="584369"/>
      </dsp:txXfrm>
    </dsp:sp>
    <dsp:sp modelId="{E4D25307-F2EF-4F4C-A751-C14168BD17C7}">
      <dsp:nvSpPr>
        <dsp:cNvPr id="0" name=""/>
        <dsp:cNvSpPr/>
      </dsp:nvSpPr>
      <dsp:spPr>
        <a:xfrm>
          <a:off x="0" y="1340513"/>
          <a:ext cx="6263640" cy="647595"/>
        </a:xfrm>
        <a:prstGeom prst="roundRect">
          <a:avLst/>
        </a:prstGeom>
        <a:solidFill>
          <a:schemeClr val="accent3">
            <a:hueOff val="1211827"/>
            <a:satOff val="7308"/>
            <a:lumOff val="-443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kern="1200"/>
            <a:t>Return to Work Standards</a:t>
          </a:r>
          <a:endParaRPr lang="en-US" sz="2700" kern="1200"/>
        </a:p>
      </dsp:txBody>
      <dsp:txXfrm>
        <a:off x="31613" y="1372126"/>
        <a:ext cx="6200414" cy="584369"/>
      </dsp:txXfrm>
    </dsp:sp>
    <dsp:sp modelId="{AD7CBE66-033B-3746-B4B8-2324D3E6CBCA}">
      <dsp:nvSpPr>
        <dsp:cNvPr id="0" name=""/>
        <dsp:cNvSpPr/>
      </dsp:nvSpPr>
      <dsp:spPr>
        <a:xfrm>
          <a:off x="0" y="2065869"/>
          <a:ext cx="6263640" cy="647595"/>
        </a:xfrm>
        <a:prstGeom prst="roundRect">
          <a:avLst/>
        </a:prstGeom>
        <a:solidFill>
          <a:schemeClr val="accent3">
            <a:hueOff val="2423654"/>
            <a:satOff val="14616"/>
            <a:lumOff val="-886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kern="1200"/>
            <a:t>Physical Wellbeing Standards</a:t>
          </a:r>
          <a:endParaRPr lang="en-US" sz="2700" kern="1200"/>
        </a:p>
      </dsp:txBody>
      <dsp:txXfrm>
        <a:off x="31613" y="2097482"/>
        <a:ext cx="6200414" cy="584369"/>
      </dsp:txXfrm>
    </dsp:sp>
    <dsp:sp modelId="{87BB0C48-F38D-FF45-8BA1-EB1F0FA5EBF2}">
      <dsp:nvSpPr>
        <dsp:cNvPr id="0" name=""/>
        <dsp:cNvSpPr/>
      </dsp:nvSpPr>
      <dsp:spPr>
        <a:xfrm>
          <a:off x="0" y="2791224"/>
          <a:ext cx="6263640" cy="647595"/>
        </a:xfrm>
        <a:prstGeom prst="roundRect">
          <a:avLst/>
        </a:prstGeom>
        <a:solidFill>
          <a:schemeClr val="accent3">
            <a:hueOff val="3635481"/>
            <a:satOff val="21924"/>
            <a:lumOff val="-1329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kern="1200"/>
            <a:t>Learning &amp; Development Standards</a:t>
          </a:r>
          <a:endParaRPr lang="en-US" sz="2700" kern="1200"/>
        </a:p>
      </dsp:txBody>
      <dsp:txXfrm>
        <a:off x="31613" y="2822837"/>
        <a:ext cx="6200414" cy="584369"/>
      </dsp:txXfrm>
    </dsp:sp>
    <dsp:sp modelId="{2A5CACA0-4D4E-5B47-8E15-E68CA1491F4A}">
      <dsp:nvSpPr>
        <dsp:cNvPr id="0" name=""/>
        <dsp:cNvSpPr/>
      </dsp:nvSpPr>
      <dsp:spPr>
        <a:xfrm>
          <a:off x="0" y="3516579"/>
          <a:ext cx="6263640" cy="647595"/>
        </a:xfrm>
        <a:prstGeom prst="roundRect">
          <a:avLst/>
        </a:prstGeom>
        <a:solidFill>
          <a:schemeClr val="accent3">
            <a:hueOff val="4847307"/>
            <a:satOff val="29232"/>
            <a:lumOff val="-1772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kern="1200"/>
            <a:t>Financial Wellbeing Standards</a:t>
          </a:r>
          <a:endParaRPr lang="en-US" sz="2700" kern="1200"/>
        </a:p>
      </dsp:txBody>
      <dsp:txXfrm>
        <a:off x="31613" y="3548192"/>
        <a:ext cx="6200414" cy="584369"/>
      </dsp:txXfrm>
    </dsp:sp>
    <dsp:sp modelId="{2703D01D-B9B1-FC41-9068-45727C79C1A1}">
      <dsp:nvSpPr>
        <dsp:cNvPr id="0" name=""/>
        <dsp:cNvSpPr/>
      </dsp:nvSpPr>
      <dsp:spPr>
        <a:xfrm>
          <a:off x="0" y="4241934"/>
          <a:ext cx="6263640" cy="647595"/>
        </a:xfrm>
        <a:prstGeom prst="roundRect">
          <a:avLst/>
        </a:prstGeom>
        <a:solidFill>
          <a:schemeClr val="accent3">
            <a:hueOff val="6059134"/>
            <a:satOff val="36540"/>
            <a:lumOff val="-221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700" kern="1200"/>
            <a:t>Built Environment Standards</a:t>
          </a:r>
          <a:endParaRPr lang="en-US" sz="2700" kern="1200"/>
        </a:p>
      </dsp:txBody>
      <dsp:txXfrm>
        <a:off x="31613" y="4273547"/>
        <a:ext cx="6200414" cy="5843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529949-0AB5-1846-A007-13DB728B3D04}">
      <dsp:nvSpPr>
        <dsp:cNvPr id="0" name=""/>
        <dsp:cNvSpPr/>
      </dsp:nvSpPr>
      <dsp:spPr>
        <a:xfrm>
          <a:off x="5426525" y="2459112"/>
          <a:ext cx="3005582" cy="3005582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/>
            <a:t>Sommeil</a:t>
          </a:r>
          <a:endParaRPr lang="en-GB" sz="2400" kern="1200" dirty="0"/>
        </a:p>
      </dsp:txBody>
      <dsp:txXfrm>
        <a:off x="6030781" y="3163155"/>
        <a:ext cx="1797070" cy="1544931"/>
      </dsp:txXfrm>
    </dsp:sp>
    <dsp:sp modelId="{78493710-4A58-EE43-8B86-7E26E95201A0}">
      <dsp:nvSpPr>
        <dsp:cNvPr id="0" name=""/>
        <dsp:cNvSpPr/>
      </dsp:nvSpPr>
      <dsp:spPr>
        <a:xfrm>
          <a:off x="3677822" y="1748702"/>
          <a:ext cx="2185878" cy="2185878"/>
        </a:xfrm>
        <a:prstGeom prst="gear6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 dirty="0" err="1"/>
            <a:t>Activité</a:t>
          </a:r>
          <a:r>
            <a:rPr lang="en-GB" sz="1900" kern="1200" dirty="0"/>
            <a:t> Physique</a:t>
          </a:r>
        </a:p>
      </dsp:txBody>
      <dsp:txXfrm>
        <a:off x="4228123" y="2302329"/>
        <a:ext cx="1085276" cy="1078624"/>
      </dsp:txXfrm>
    </dsp:sp>
    <dsp:sp modelId="{66C2F407-8C5D-FD4F-B122-6FDE8DCF77A7}">
      <dsp:nvSpPr>
        <dsp:cNvPr id="0" name=""/>
        <dsp:cNvSpPr/>
      </dsp:nvSpPr>
      <dsp:spPr>
        <a:xfrm rot="20700000">
          <a:off x="4902137" y="240669"/>
          <a:ext cx="2141714" cy="2141714"/>
        </a:xfrm>
        <a:prstGeom prst="gear6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900" kern="1200" dirty="0"/>
            <a:t>Nutrition</a:t>
          </a:r>
        </a:p>
      </dsp:txBody>
      <dsp:txXfrm rot="-20700000">
        <a:off x="5371878" y="710410"/>
        <a:ext cx="1202232" cy="1202232"/>
      </dsp:txXfrm>
    </dsp:sp>
    <dsp:sp modelId="{CFB149F8-01A0-424A-BADD-795A809392D7}">
      <dsp:nvSpPr>
        <dsp:cNvPr id="0" name=""/>
        <dsp:cNvSpPr/>
      </dsp:nvSpPr>
      <dsp:spPr>
        <a:xfrm>
          <a:off x="5209611" y="1997456"/>
          <a:ext cx="3847145" cy="3847145"/>
        </a:xfrm>
        <a:prstGeom prst="circularArrow">
          <a:avLst>
            <a:gd name="adj1" fmla="val 4688"/>
            <a:gd name="adj2" fmla="val 299029"/>
            <a:gd name="adj3" fmla="val 2539981"/>
            <a:gd name="adj4" fmla="val 15810896"/>
            <a:gd name="adj5" fmla="val 5469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EF20B0B-A415-3749-AACA-311314BF7981}">
      <dsp:nvSpPr>
        <dsp:cNvPr id="0" name=""/>
        <dsp:cNvSpPr/>
      </dsp:nvSpPr>
      <dsp:spPr>
        <a:xfrm>
          <a:off x="3290708" y="1259598"/>
          <a:ext cx="2795191" cy="279519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BA8BDB7-6933-C740-9A50-8BCD6D1E0085}">
      <dsp:nvSpPr>
        <dsp:cNvPr id="0" name=""/>
        <dsp:cNvSpPr/>
      </dsp:nvSpPr>
      <dsp:spPr>
        <a:xfrm>
          <a:off x="4406737" y="-233898"/>
          <a:ext cx="3013779" cy="301377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8CAB2C-8657-AD4D-A757-2BDFF328BC1D}">
      <dsp:nvSpPr>
        <dsp:cNvPr id="0" name=""/>
        <dsp:cNvSpPr/>
      </dsp:nvSpPr>
      <dsp:spPr>
        <a:xfrm>
          <a:off x="773545" y="2127"/>
          <a:ext cx="2061263" cy="123675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dirty="0" err="1">
              <a:solidFill>
                <a:schemeClr val="tx1"/>
              </a:solidFill>
            </a:rPr>
            <a:t>Amélioration</a:t>
          </a:r>
          <a:r>
            <a:rPr lang="en-US" sz="1900" b="0" kern="1200" dirty="0">
              <a:solidFill>
                <a:schemeClr val="tx1"/>
              </a:solidFill>
            </a:rPr>
            <a:t> de la </a:t>
          </a:r>
          <a:r>
            <a:rPr lang="en-US" sz="1900" b="0" kern="1200" dirty="0" err="1">
              <a:solidFill>
                <a:schemeClr val="tx1"/>
              </a:solidFill>
            </a:rPr>
            <a:t>santé</a:t>
          </a:r>
          <a:endParaRPr lang="en-US" sz="1900" b="0" kern="1200" dirty="0">
            <a:solidFill>
              <a:schemeClr val="tx1"/>
            </a:solidFill>
          </a:endParaRPr>
        </a:p>
      </dsp:txBody>
      <dsp:txXfrm>
        <a:off x="773545" y="2127"/>
        <a:ext cx="2061263" cy="1236758"/>
      </dsp:txXfrm>
    </dsp:sp>
    <dsp:sp modelId="{437F2BA5-4910-B744-B454-058DB5E3062C}">
      <dsp:nvSpPr>
        <dsp:cNvPr id="0" name=""/>
        <dsp:cNvSpPr/>
      </dsp:nvSpPr>
      <dsp:spPr>
        <a:xfrm>
          <a:off x="3040935" y="2127"/>
          <a:ext cx="2061263" cy="123675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dirty="0" err="1">
              <a:solidFill>
                <a:schemeClr val="tx1"/>
              </a:solidFill>
            </a:rPr>
            <a:t>Amélioration</a:t>
          </a:r>
          <a:r>
            <a:rPr lang="en-US" sz="1900" b="0" kern="1200" dirty="0">
              <a:solidFill>
                <a:schemeClr val="tx1"/>
              </a:solidFill>
            </a:rPr>
            <a:t> de </a:t>
          </a:r>
          <a:r>
            <a:rPr lang="en-US" sz="1900" b="0" kern="1200" dirty="0" err="1">
              <a:solidFill>
                <a:schemeClr val="tx1"/>
              </a:solidFill>
            </a:rPr>
            <a:t>l’humeur</a:t>
          </a:r>
          <a:endParaRPr lang="en-US" sz="1900" b="0" kern="1200" dirty="0">
            <a:solidFill>
              <a:schemeClr val="tx1"/>
            </a:solidFill>
          </a:endParaRPr>
        </a:p>
      </dsp:txBody>
      <dsp:txXfrm>
        <a:off x="3040935" y="2127"/>
        <a:ext cx="2061263" cy="1236758"/>
      </dsp:txXfrm>
    </dsp:sp>
    <dsp:sp modelId="{D7F33E9E-72F0-974A-A68C-A0E67C2D2777}">
      <dsp:nvSpPr>
        <dsp:cNvPr id="0" name=""/>
        <dsp:cNvSpPr/>
      </dsp:nvSpPr>
      <dsp:spPr>
        <a:xfrm>
          <a:off x="5308325" y="2127"/>
          <a:ext cx="2061263" cy="123675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dirty="0" err="1">
              <a:solidFill>
                <a:schemeClr val="tx1"/>
              </a:solidFill>
            </a:rPr>
            <a:t>Amélioration</a:t>
          </a:r>
          <a:r>
            <a:rPr lang="en-US" sz="1900" b="0" kern="1200" dirty="0">
              <a:solidFill>
                <a:schemeClr val="tx1"/>
              </a:solidFill>
            </a:rPr>
            <a:t> du </a:t>
          </a:r>
          <a:r>
            <a:rPr lang="en-US" sz="1900" b="0" kern="1200" dirty="0" err="1">
              <a:solidFill>
                <a:schemeClr val="tx1"/>
              </a:solidFill>
            </a:rPr>
            <a:t>sommeil</a:t>
          </a:r>
          <a:endParaRPr lang="en-US" sz="1900" b="0" kern="1200" dirty="0">
            <a:solidFill>
              <a:schemeClr val="tx1"/>
            </a:solidFill>
          </a:endParaRPr>
        </a:p>
      </dsp:txBody>
      <dsp:txXfrm>
        <a:off x="5308325" y="2127"/>
        <a:ext cx="2061263" cy="1236758"/>
      </dsp:txXfrm>
    </dsp:sp>
    <dsp:sp modelId="{6310A96B-2BFE-214E-B2B0-13FA19AEA0BE}">
      <dsp:nvSpPr>
        <dsp:cNvPr id="0" name=""/>
        <dsp:cNvSpPr/>
      </dsp:nvSpPr>
      <dsp:spPr>
        <a:xfrm>
          <a:off x="7575714" y="2127"/>
          <a:ext cx="2061263" cy="123675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dirty="0" err="1">
              <a:solidFill>
                <a:schemeClr val="tx1"/>
              </a:solidFill>
            </a:rPr>
            <a:t>Productivité</a:t>
          </a:r>
          <a:r>
            <a:rPr lang="en-US" sz="1900" b="0" kern="1200" dirty="0">
              <a:solidFill>
                <a:schemeClr val="tx1"/>
              </a:solidFill>
            </a:rPr>
            <a:t> au travail</a:t>
          </a:r>
        </a:p>
      </dsp:txBody>
      <dsp:txXfrm>
        <a:off x="7575714" y="2127"/>
        <a:ext cx="2061263" cy="1236758"/>
      </dsp:txXfrm>
    </dsp:sp>
    <dsp:sp modelId="{1EF5EF61-7AAB-704A-B0FA-9B1862BFC0AF}">
      <dsp:nvSpPr>
        <dsp:cNvPr id="0" name=""/>
        <dsp:cNvSpPr/>
      </dsp:nvSpPr>
      <dsp:spPr>
        <a:xfrm>
          <a:off x="773545" y="1445011"/>
          <a:ext cx="2061263" cy="123675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900" b="0" kern="1200" dirty="0">
              <a:solidFill>
                <a:schemeClr val="tx1"/>
              </a:solidFill>
            </a:rPr>
            <a:t>Meilleure estime de soi</a:t>
          </a:r>
          <a:endParaRPr lang="en-US" sz="1900" b="0" kern="1200" dirty="0">
            <a:solidFill>
              <a:schemeClr val="tx1"/>
            </a:solidFill>
          </a:endParaRPr>
        </a:p>
      </dsp:txBody>
      <dsp:txXfrm>
        <a:off x="773545" y="1445011"/>
        <a:ext cx="2061263" cy="1236758"/>
      </dsp:txXfrm>
    </dsp:sp>
    <dsp:sp modelId="{57BAA123-FD63-E04C-86DB-7D5DD6DD1A81}">
      <dsp:nvSpPr>
        <dsp:cNvPr id="0" name=""/>
        <dsp:cNvSpPr/>
      </dsp:nvSpPr>
      <dsp:spPr>
        <a:xfrm>
          <a:off x="3040935" y="1445011"/>
          <a:ext cx="2061263" cy="123675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dirty="0" err="1">
              <a:solidFill>
                <a:schemeClr val="tx1"/>
              </a:solidFill>
            </a:rPr>
            <a:t>Moins</a:t>
          </a:r>
          <a:r>
            <a:rPr lang="en-US" sz="1900" b="0" kern="1200" dirty="0">
              <a:solidFill>
                <a:schemeClr val="tx1"/>
              </a:solidFill>
            </a:rPr>
            <a:t> de </a:t>
          </a:r>
          <a:r>
            <a:rPr lang="en-US" sz="1900" b="0" kern="1200" dirty="0" err="1">
              <a:solidFill>
                <a:schemeClr val="tx1"/>
              </a:solidFill>
            </a:rPr>
            <a:t>surpoids</a:t>
          </a:r>
          <a:r>
            <a:rPr lang="en-US" sz="1900" b="0" kern="1200" dirty="0">
              <a:solidFill>
                <a:schemeClr val="tx1"/>
              </a:solidFill>
            </a:rPr>
            <a:t> et </a:t>
          </a:r>
          <a:r>
            <a:rPr lang="en-US" sz="1900" b="0" kern="1200" dirty="0" err="1">
              <a:solidFill>
                <a:schemeClr val="tx1"/>
              </a:solidFill>
            </a:rPr>
            <a:t>d’obésité</a:t>
          </a:r>
          <a:endParaRPr lang="en-US" sz="1900" b="0" kern="1200" dirty="0">
            <a:solidFill>
              <a:schemeClr val="tx1"/>
            </a:solidFill>
          </a:endParaRPr>
        </a:p>
      </dsp:txBody>
      <dsp:txXfrm>
        <a:off x="3040935" y="1445011"/>
        <a:ext cx="2061263" cy="1236758"/>
      </dsp:txXfrm>
    </dsp:sp>
    <dsp:sp modelId="{88089AAB-B8C2-7D4E-84B7-26080A3527FC}">
      <dsp:nvSpPr>
        <dsp:cNvPr id="0" name=""/>
        <dsp:cNvSpPr/>
      </dsp:nvSpPr>
      <dsp:spPr>
        <a:xfrm>
          <a:off x="5308325" y="1445011"/>
          <a:ext cx="2061263" cy="123675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dirty="0">
              <a:solidFill>
                <a:schemeClr val="tx1"/>
              </a:solidFill>
            </a:rPr>
            <a:t>Plus </a:t>
          </a:r>
          <a:r>
            <a:rPr lang="en-US" sz="1900" b="0" kern="1200" dirty="0" err="1">
              <a:solidFill>
                <a:schemeClr val="tx1"/>
              </a:solidFill>
            </a:rPr>
            <a:t>d’énergie</a:t>
          </a:r>
          <a:r>
            <a:rPr lang="en-US" sz="1900" b="0" kern="1200" dirty="0">
              <a:solidFill>
                <a:schemeClr val="tx1"/>
              </a:solidFill>
            </a:rPr>
            <a:t> pour faire de </a:t>
          </a:r>
          <a:r>
            <a:rPr lang="en-US" sz="1900" b="0" kern="1200" dirty="0" err="1">
              <a:solidFill>
                <a:schemeClr val="tx1"/>
              </a:solidFill>
            </a:rPr>
            <a:t>l’activité</a:t>
          </a:r>
          <a:r>
            <a:rPr lang="en-US" sz="1900" b="0" kern="1200" dirty="0">
              <a:solidFill>
                <a:schemeClr val="tx1"/>
              </a:solidFill>
            </a:rPr>
            <a:t> physique</a:t>
          </a:r>
        </a:p>
      </dsp:txBody>
      <dsp:txXfrm>
        <a:off x="5308325" y="1445011"/>
        <a:ext cx="2061263" cy="1236758"/>
      </dsp:txXfrm>
    </dsp:sp>
    <dsp:sp modelId="{96BEF0CC-4718-6444-8FB5-A9CE161C6FF3}">
      <dsp:nvSpPr>
        <dsp:cNvPr id="0" name=""/>
        <dsp:cNvSpPr/>
      </dsp:nvSpPr>
      <dsp:spPr>
        <a:xfrm>
          <a:off x="7575714" y="1445011"/>
          <a:ext cx="2061263" cy="123675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dirty="0" err="1">
              <a:solidFill>
                <a:schemeClr val="tx1"/>
              </a:solidFill>
            </a:rPr>
            <a:t>Moins</a:t>
          </a:r>
          <a:r>
            <a:rPr lang="en-US" sz="1900" b="0" kern="1200" dirty="0">
              <a:solidFill>
                <a:schemeClr val="tx1"/>
              </a:solidFill>
            </a:rPr>
            <a:t> de restauration </a:t>
          </a:r>
          <a:r>
            <a:rPr lang="en-US" sz="1900" b="0" kern="1200" dirty="0" err="1">
              <a:solidFill>
                <a:schemeClr val="tx1"/>
              </a:solidFill>
            </a:rPr>
            <a:t>rapide</a:t>
          </a:r>
          <a:endParaRPr lang="en-US" sz="1900" b="0" kern="1200" dirty="0">
            <a:solidFill>
              <a:schemeClr val="tx1"/>
            </a:solidFill>
          </a:endParaRPr>
        </a:p>
      </dsp:txBody>
      <dsp:txXfrm>
        <a:off x="7575714" y="1445011"/>
        <a:ext cx="2061263" cy="1236758"/>
      </dsp:txXfrm>
    </dsp:sp>
    <dsp:sp modelId="{1F90E05F-BDB7-894F-BE82-AD31FF4B67A3}">
      <dsp:nvSpPr>
        <dsp:cNvPr id="0" name=""/>
        <dsp:cNvSpPr/>
      </dsp:nvSpPr>
      <dsp:spPr>
        <a:xfrm>
          <a:off x="773545" y="2887896"/>
          <a:ext cx="2061263" cy="123675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dirty="0" err="1">
              <a:solidFill>
                <a:schemeClr val="tx1"/>
              </a:solidFill>
            </a:rPr>
            <a:t>Moins</a:t>
          </a:r>
          <a:r>
            <a:rPr lang="en-US" sz="1900" b="0" kern="1200" dirty="0">
              <a:solidFill>
                <a:schemeClr val="tx1"/>
              </a:solidFill>
            </a:rPr>
            <a:t> de </a:t>
          </a:r>
          <a:r>
            <a:rPr lang="en-US" sz="1900" b="0" kern="1200" dirty="0" err="1">
              <a:solidFill>
                <a:schemeClr val="tx1"/>
              </a:solidFill>
            </a:rPr>
            <a:t>sauts</a:t>
          </a:r>
          <a:r>
            <a:rPr lang="en-US" sz="1900" b="0" kern="1200" dirty="0">
              <a:solidFill>
                <a:schemeClr val="tx1"/>
              </a:solidFill>
            </a:rPr>
            <a:t> de </a:t>
          </a:r>
          <a:r>
            <a:rPr lang="en-US" sz="1900" b="0" kern="1200" dirty="0" err="1">
              <a:solidFill>
                <a:schemeClr val="tx1"/>
              </a:solidFill>
            </a:rPr>
            <a:t>repas</a:t>
          </a:r>
          <a:endParaRPr lang="en-US" sz="1900" b="0" kern="1200" dirty="0">
            <a:solidFill>
              <a:schemeClr val="tx1"/>
            </a:solidFill>
          </a:endParaRPr>
        </a:p>
      </dsp:txBody>
      <dsp:txXfrm>
        <a:off x="773545" y="2887896"/>
        <a:ext cx="2061263" cy="1236758"/>
      </dsp:txXfrm>
    </dsp:sp>
    <dsp:sp modelId="{985107FC-57DF-0942-BA92-E449B6808FD7}">
      <dsp:nvSpPr>
        <dsp:cNvPr id="0" name=""/>
        <dsp:cNvSpPr/>
      </dsp:nvSpPr>
      <dsp:spPr>
        <a:xfrm>
          <a:off x="3040935" y="2887896"/>
          <a:ext cx="2061263" cy="123675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dirty="0" err="1">
              <a:solidFill>
                <a:schemeClr val="tx1"/>
              </a:solidFill>
            </a:rPr>
            <a:t>Réduction</a:t>
          </a:r>
          <a:r>
            <a:rPr lang="en-US" sz="1900" b="0" kern="1200" dirty="0">
              <a:solidFill>
                <a:schemeClr val="tx1"/>
              </a:solidFill>
            </a:rPr>
            <a:t> de la </a:t>
          </a:r>
          <a:r>
            <a:rPr lang="en-US" sz="1900" b="0" kern="1200" dirty="0" err="1">
              <a:solidFill>
                <a:schemeClr val="tx1"/>
              </a:solidFill>
            </a:rPr>
            <a:t>caféine</a:t>
          </a:r>
          <a:endParaRPr lang="en-US" sz="1900" b="0" kern="1200" dirty="0">
            <a:solidFill>
              <a:schemeClr val="tx1"/>
            </a:solidFill>
          </a:endParaRPr>
        </a:p>
      </dsp:txBody>
      <dsp:txXfrm>
        <a:off x="3040935" y="2887896"/>
        <a:ext cx="2061263" cy="1236758"/>
      </dsp:txXfrm>
    </dsp:sp>
    <dsp:sp modelId="{2D246E09-9045-DF42-BAAE-3EE1C588D60E}">
      <dsp:nvSpPr>
        <dsp:cNvPr id="0" name=""/>
        <dsp:cNvSpPr/>
      </dsp:nvSpPr>
      <dsp:spPr>
        <a:xfrm>
          <a:off x="5308325" y="2887896"/>
          <a:ext cx="2061263" cy="123675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dirty="0" err="1">
              <a:solidFill>
                <a:schemeClr val="tx1"/>
              </a:solidFill>
            </a:rPr>
            <a:t>Moins</a:t>
          </a:r>
          <a:r>
            <a:rPr lang="en-US" sz="1900" b="0" kern="1200" dirty="0">
              <a:solidFill>
                <a:schemeClr val="tx1"/>
              </a:solidFill>
            </a:rPr>
            <a:t> de solutions </a:t>
          </a:r>
          <a:r>
            <a:rPr lang="en-US" sz="1900" b="0" kern="1200" dirty="0" err="1">
              <a:solidFill>
                <a:schemeClr val="tx1"/>
              </a:solidFill>
            </a:rPr>
            <a:t>rapides</a:t>
          </a:r>
          <a:r>
            <a:rPr lang="en-US" sz="1900" b="0" kern="1200" dirty="0">
              <a:solidFill>
                <a:schemeClr val="tx1"/>
              </a:solidFill>
            </a:rPr>
            <a:t> </a:t>
          </a:r>
          <a:r>
            <a:rPr lang="en-US" sz="1900" b="0" kern="1200" dirty="0" err="1">
              <a:solidFill>
                <a:schemeClr val="tx1"/>
              </a:solidFill>
            </a:rPr>
            <a:t>ou</a:t>
          </a:r>
          <a:r>
            <a:rPr lang="en-US" sz="1900" b="0" kern="1200" dirty="0">
              <a:solidFill>
                <a:schemeClr val="tx1"/>
              </a:solidFill>
            </a:rPr>
            <a:t> de régimes </a:t>
          </a:r>
          <a:r>
            <a:rPr lang="en-US" sz="1900" b="0" kern="1200" dirty="0" err="1">
              <a:solidFill>
                <a:schemeClr val="tx1"/>
              </a:solidFill>
            </a:rPr>
            <a:t>à</a:t>
          </a:r>
          <a:r>
            <a:rPr lang="en-US" sz="1900" b="0" kern="1200" dirty="0">
              <a:solidFill>
                <a:schemeClr val="tx1"/>
              </a:solidFill>
            </a:rPr>
            <a:t> la mode (yoyo)</a:t>
          </a:r>
        </a:p>
      </dsp:txBody>
      <dsp:txXfrm>
        <a:off x="5308325" y="2887896"/>
        <a:ext cx="2061263" cy="1236758"/>
      </dsp:txXfrm>
    </dsp:sp>
    <dsp:sp modelId="{91E3620F-909C-614B-B532-3372A5477E68}">
      <dsp:nvSpPr>
        <dsp:cNvPr id="0" name=""/>
        <dsp:cNvSpPr/>
      </dsp:nvSpPr>
      <dsp:spPr>
        <a:xfrm>
          <a:off x="7575714" y="2887896"/>
          <a:ext cx="2061263" cy="1236758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kern="1200" dirty="0" err="1">
              <a:solidFill>
                <a:schemeClr val="tx1"/>
              </a:solidFill>
            </a:rPr>
            <a:t>Moins</a:t>
          </a:r>
          <a:r>
            <a:rPr lang="en-US" sz="1900" b="0" kern="1200" dirty="0">
              <a:solidFill>
                <a:schemeClr val="tx1"/>
              </a:solidFill>
            </a:rPr>
            <a:t> de </a:t>
          </a:r>
          <a:r>
            <a:rPr lang="en-US" sz="1900" b="0" kern="1200" dirty="0" err="1">
              <a:solidFill>
                <a:schemeClr val="tx1"/>
              </a:solidFill>
            </a:rPr>
            <a:t>grignotage</a:t>
          </a:r>
          <a:endParaRPr lang="en-US" sz="1900" b="0" kern="1200" dirty="0">
            <a:solidFill>
              <a:schemeClr val="tx1"/>
            </a:solidFill>
          </a:endParaRPr>
        </a:p>
      </dsp:txBody>
      <dsp:txXfrm>
        <a:off x="7575714" y="2887896"/>
        <a:ext cx="2061263" cy="123675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FDC0F4-2F84-2F43-8EC8-06E518B29297}">
      <dsp:nvSpPr>
        <dsp:cNvPr id="0" name=""/>
        <dsp:cNvSpPr/>
      </dsp:nvSpPr>
      <dsp:spPr>
        <a:xfrm>
          <a:off x="1438015" y="726569"/>
          <a:ext cx="888029" cy="888029"/>
        </a:xfrm>
        <a:prstGeom prst="gear9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00" kern="1200" dirty="0" err="1"/>
            <a:t>Sommeil</a:t>
          </a:r>
          <a:endParaRPr lang="en-GB" sz="600" kern="1200" dirty="0"/>
        </a:p>
      </dsp:txBody>
      <dsp:txXfrm>
        <a:off x="1616548" y="934586"/>
        <a:ext cx="530963" cy="456465"/>
      </dsp:txXfrm>
    </dsp:sp>
    <dsp:sp modelId="{7A406FA2-5117-194C-BB6F-AAFD7029EF58}">
      <dsp:nvSpPr>
        <dsp:cNvPr id="0" name=""/>
        <dsp:cNvSpPr/>
      </dsp:nvSpPr>
      <dsp:spPr>
        <a:xfrm>
          <a:off x="921343" y="516671"/>
          <a:ext cx="645839" cy="645839"/>
        </a:xfrm>
        <a:prstGeom prst="gear6">
          <a:avLst/>
        </a:prstGeom>
        <a:solidFill>
          <a:schemeClr val="accent3">
            <a:hueOff val="3029567"/>
            <a:satOff val="18270"/>
            <a:lumOff val="-1107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00" kern="1200" dirty="0" err="1"/>
            <a:t>Activité</a:t>
          </a:r>
          <a:endParaRPr lang="en-GB" sz="600" kern="1200" dirty="0"/>
        </a:p>
      </dsp:txBody>
      <dsp:txXfrm>
        <a:off x="1083935" y="680246"/>
        <a:ext cx="320655" cy="318689"/>
      </dsp:txXfrm>
    </dsp:sp>
    <dsp:sp modelId="{2D46E493-C4D8-6842-BD05-6426F61EB0B8}">
      <dsp:nvSpPr>
        <dsp:cNvPr id="0" name=""/>
        <dsp:cNvSpPr/>
      </dsp:nvSpPr>
      <dsp:spPr>
        <a:xfrm rot="20700000">
          <a:off x="1283079" y="71108"/>
          <a:ext cx="632790" cy="632790"/>
        </a:xfrm>
        <a:prstGeom prst="gear6">
          <a:avLst/>
        </a:prstGeom>
        <a:solidFill>
          <a:schemeClr val="accent3">
            <a:hueOff val="6059134"/>
            <a:satOff val="36540"/>
            <a:lumOff val="-221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00" kern="1200" dirty="0"/>
            <a:t>Nutrition</a:t>
          </a:r>
        </a:p>
      </dsp:txBody>
      <dsp:txXfrm rot="-20700000">
        <a:off x="1421869" y="209897"/>
        <a:ext cx="355211" cy="355211"/>
      </dsp:txXfrm>
    </dsp:sp>
    <dsp:sp modelId="{CB5DC0E8-7525-9245-946D-FF487D9A9275}">
      <dsp:nvSpPr>
        <dsp:cNvPr id="0" name=""/>
        <dsp:cNvSpPr/>
      </dsp:nvSpPr>
      <dsp:spPr>
        <a:xfrm>
          <a:off x="1344721" y="606108"/>
          <a:ext cx="1136677" cy="1136677"/>
        </a:xfrm>
        <a:prstGeom prst="circularArrow">
          <a:avLst>
            <a:gd name="adj1" fmla="val 4688"/>
            <a:gd name="adj2" fmla="val 299029"/>
            <a:gd name="adj3" fmla="val 2385404"/>
            <a:gd name="adj4" fmla="val 16179104"/>
            <a:gd name="adj5" fmla="val 5469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D02AE9-4D55-9345-BA26-20AF5B99B114}">
      <dsp:nvSpPr>
        <dsp:cNvPr id="0" name=""/>
        <dsp:cNvSpPr/>
      </dsp:nvSpPr>
      <dsp:spPr>
        <a:xfrm>
          <a:off x="806966" y="384842"/>
          <a:ext cx="825867" cy="825867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3">
            <a:hueOff val="3029567"/>
            <a:satOff val="18270"/>
            <a:lumOff val="-1107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FC7065-30B5-B344-80BB-E26A46FFA3F6}">
      <dsp:nvSpPr>
        <dsp:cNvPr id="0" name=""/>
        <dsp:cNvSpPr/>
      </dsp:nvSpPr>
      <dsp:spPr>
        <a:xfrm>
          <a:off x="1136708" y="-56425"/>
          <a:ext cx="890451" cy="89045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3">
            <a:hueOff val="6059134"/>
            <a:satOff val="36540"/>
            <a:lumOff val="-2215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94BE86-C01C-674E-852B-CBC32553E6E0}">
      <dsp:nvSpPr>
        <dsp:cNvPr id="0" name=""/>
        <dsp:cNvSpPr/>
      </dsp:nvSpPr>
      <dsp:spPr>
        <a:xfrm>
          <a:off x="43120" y="3203"/>
          <a:ext cx="1608967" cy="96538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chemeClr val="tx1"/>
              </a:solidFill>
            </a:rPr>
            <a:t>Cortisol</a:t>
          </a:r>
        </a:p>
      </dsp:txBody>
      <dsp:txXfrm>
        <a:off x="43120" y="3203"/>
        <a:ext cx="1608967" cy="965380"/>
      </dsp:txXfrm>
    </dsp:sp>
    <dsp:sp modelId="{8B0A698B-9F7A-3243-95BA-3AAF2F0B10EC}">
      <dsp:nvSpPr>
        <dsp:cNvPr id="0" name=""/>
        <dsp:cNvSpPr/>
      </dsp:nvSpPr>
      <dsp:spPr>
        <a:xfrm>
          <a:off x="1812984" y="3203"/>
          <a:ext cx="1608967" cy="965380"/>
        </a:xfrm>
        <a:prstGeom prst="rect">
          <a:avLst/>
        </a:prstGeom>
        <a:solidFill>
          <a:schemeClr val="accent2">
            <a:hueOff val="-40123"/>
            <a:satOff val="192"/>
            <a:lumOff val="267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>
              <a:solidFill>
                <a:schemeClr val="tx1"/>
              </a:solidFill>
            </a:rPr>
            <a:t>Adrénaline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1812984" y="3203"/>
        <a:ext cx="1608967" cy="965380"/>
      </dsp:txXfrm>
    </dsp:sp>
    <dsp:sp modelId="{6F881CFB-9E95-9E48-839A-FBD31B34838E}">
      <dsp:nvSpPr>
        <dsp:cNvPr id="0" name=""/>
        <dsp:cNvSpPr/>
      </dsp:nvSpPr>
      <dsp:spPr>
        <a:xfrm>
          <a:off x="3582849" y="3203"/>
          <a:ext cx="1608967" cy="965380"/>
        </a:xfrm>
        <a:prstGeom prst="rect">
          <a:avLst/>
        </a:prstGeom>
        <a:solidFill>
          <a:schemeClr val="accent2">
            <a:hueOff val="-80245"/>
            <a:satOff val="383"/>
            <a:lumOff val="535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>
              <a:solidFill>
                <a:schemeClr val="tx1"/>
              </a:solidFill>
            </a:rPr>
            <a:t>Sérotonine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3582849" y="3203"/>
        <a:ext cx="1608967" cy="965380"/>
      </dsp:txXfrm>
    </dsp:sp>
    <dsp:sp modelId="{4355C52C-828C-4344-AC02-7A54C6272225}">
      <dsp:nvSpPr>
        <dsp:cNvPr id="0" name=""/>
        <dsp:cNvSpPr/>
      </dsp:nvSpPr>
      <dsp:spPr>
        <a:xfrm>
          <a:off x="5352713" y="3203"/>
          <a:ext cx="1608967" cy="965380"/>
        </a:xfrm>
        <a:prstGeom prst="rect">
          <a:avLst/>
        </a:prstGeom>
        <a:solidFill>
          <a:schemeClr val="accent2">
            <a:hueOff val="-120368"/>
            <a:satOff val="575"/>
            <a:lumOff val="80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>
              <a:solidFill>
                <a:schemeClr val="tx1"/>
              </a:solidFill>
            </a:rPr>
            <a:t>Immunité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5352713" y="3203"/>
        <a:ext cx="1608967" cy="965380"/>
      </dsp:txXfrm>
    </dsp:sp>
    <dsp:sp modelId="{B71E6B68-5394-1A47-B2DB-ADEA260622CA}">
      <dsp:nvSpPr>
        <dsp:cNvPr id="0" name=""/>
        <dsp:cNvSpPr/>
      </dsp:nvSpPr>
      <dsp:spPr>
        <a:xfrm>
          <a:off x="7122578" y="3203"/>
          <a:ext cx="1608967" cy="965380"/>
        </a:xfrm>
        <a:prstGeom prst="rect">
          <a:avLst/>
        </a:prstGeom>
        <a:solidFill>
          <a:schemeClr val="accent2">
            <a:hueOff val="-160490"/>
            <a:satOff val="767"/>
            <a:lumOff val="107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chemeClr val="tx1"/>
              </a:solidFill>
            </a:rPr>
            <a:t>Stress</a:t>
          </a:r>
        </a:p>
      </dsp:txBody>
      <dsp:txXfrm>
        <a:off x="7122578" y="3203"/>
        <a:ext cx="1608967" cy="965380"/>
      </dsp:txXfrm>
    </dsp:sp>
    <dsp:sp modelId="{109765A9-ECC4-484C-A5D4-4466A898195C}">
      <dsp:nvSpPr>
        <dsp:cNvPr id="0" name=""/>
        <dsp:cNvSpPr/>
      </dsp:nvSpPr>
      <dsp:spPr>
        <a:xfrm>
          <a:off x="8892442" y="3203"/>
          <a:ext cx="1608967" cy="965380"/>
        </a:xfrm>
        <a:prstGeom prst="rect">
          <a:avLst/>
        </a:prstGeom>
        <a:solidFill>
          <a:schemeClr val="accent2">
            <a:hueOff val="-200613"/>
            <a:satOff val="959"/>
            <a:lumOff val="1337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>
              <a:solidFill>
                <a:schemeClr val="tx1"/>
              </a:solidFill>
            </a:rPr>
            <a:t>Sommeil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8892442" y="3203"/>
        <a:ext cx="1608967" cy="965380"/>
      </dsp:txXfrm>
    </dsp:sp>
    <dsp:sp modelId="{0D54B71C-AD03-9F48-B3C6-33C5A53BCA8A}">
      <dsp:nvSpPr>
        <dsp:cNvPr id="0" name=""/>
        <dsp:cNvSpPr/>
      </dsp:nvSpPr>
      <dsp:spPr>
        <a:xfrm>
          <a:off x="43120" y="1129480"/>
          <a:ext cx="1608967" cy="965380"/>
        </a:xfrm>
        <a:prstGeom prst="rect">
          <a:avLst/>
        </a:prstGeom>
        <a:solidFill>
          <a:schemeClr val="accent2">
            <a:hueOff val="-240735"/>
            <a:satOff val="1150"/>
            <a:lumOff val="160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>
              <a:solidFill>
                <a:schemeClr val="tx1"/>
              </a:solidFill>
            </a:rPr>
            <a:t>Humeur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43120" y="1129480"/>
        <a:ext cx="1608967" cy="965380"/>
      </dsp:txXfrm>
    </dsp:sp>
    <dsp:sp modelId="{6ECFD0F3-03FA-E642-95D1-7EBE6572A230}">
      <dsp:nvSpPr>
        <dsp:cNvPr id="0" name=""/>
        <dsp:cNvSpPr/>
      </dsp:nvSpPr>
      <dsp:spPr>
        <a:xfrm>
          <a:off x="1812984" y="1129480"/>
          <a:ext cx="1608967" cy="965380"/>
        </a:xfrm>
        <a:prstGeom prst="rect">
          <a:avLst/>
        </a:prstGeom>
        <a:solidFill>
          <a:schemeClr val="accent2">
            <a:hueOff val="-280858"/>
            <a:satOff val="1342"/>
            <a:lumOff val="187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>
              <a:solidFill>
                <a:schemeClr val="tx1"/>
              </a:solidFill>
            </a:rPr>
            <a:t>Toutes</a:t>
          </a:r>
          <a:r>
            <a:rPr lang="en-US" sz="1800" kern="1200" dirty="0">
              <a:solidFill>
                <a:schemeClr val="tx1"/>
              </a:solidFill>
            </a:rPr>
            <a:t> les maladies</a:t>
          </a:r>
        </a:p>
      </dsp:txBody>
      <dsp:txXfrm>
        <a:off x="1812984" y="1129480"/>
        <a:ext cx="1608967" cy="965380"/>
      </dsp:txXfrm>
    </dsp:sp>
    <dsp:sp modelId="{88F713F3-E202-DB4E-8DE6-4FA0367A828E}">
      <dsp:nvSpPr>
        <dsp:cNvPr id="0" name=""/>
        <dsp:cNvSpPr/>
      </dsp:nvSpPr>
      <dsp:spPr>
        <a:xfrm>
          <a:off x="3582849" y="1129480"/>
          <a:ext cx="1608967" cy="965380"/>
        </a:xfrm>
        <a:prstGeom prst="rect">
          <a:avLst/>
        </a:prstGeom>
        <a:solidFill>
          <a:schemeClr val="accent2">
            <a:hueOff val="-320980"/>
            <a:satOff val="1534"/>
            <a:lumOff val="2139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>
              <a:solidFill>
                <a:schemeClr val="tx1"/>
              </a:solidFill>
            </a:rPr>
            <a:t>Cerveau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3582849" y="1129480"/>
        <a:ext cx="1608967" cy="965380"/>
      </dsp:txXfrm>
    </dsp:sp>
    <dsp:sp modelId="{EB4B0E75-0D46-9A49-945A-F927D277C121}">
      <dsp:nvSpPr>
        <dsp:cNvPr id="0" name=""/>
        <dsp:cNvSpPr/>
      </dsp:nvSpPr>
      <dsp:spPr>
        <a:xfrm>
          <a:off x="5352713" y="1129480"/>
          <a:ext cx="1608967" cy="965380"/>
        </a:xfrm>
        <a:prstGeom prst="rect">
          <a:avLst/>
        </a:prstGeom>
        <a:solidFill>
          <a:schemeClr val="accent2">
            <a:hueOff val="-361103"/>
            <a:satOff val="1726"/>
            <a:lumOff val="2407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chemeClr val="tx1"/>
              </a:solidFill>
            </a:rPr>
            <a:t>Focus</a:t>
          </a:r>
        </a:p>
      </dsp:txBody>
      <dsp:txXfrm>
        <a:off x="5352713" y="1129480"/>
        <a:ext cx="1608967" cy="965380"/>
      </dsp:txXfrm>
    </dsp:sp>
    <dsp:sp modelId="{C6FFD799-F9E1-1741-AD23-F8154E7D0627}">
      <dsp:nvSpPr>
        <dsp:cNvPr id="0" name=""/>
        <dsp:cNvSpPr/>
      </dsp:nvSpPr>
      <dsp:spPr>
        <a:xfrm>
          <a:off x="7122578" y="1129480"/>
          <a:ext cx="1608967" cy="965380"/>
        </a:xfrm>
        <a:prstGeom prst="rect">
          <a:avLst/>
        </a:prstGeom>
        <a:solidFill>
          <a:schemeClr val="accent2">
            <a:hueOff val="-401226"/>
            <a:satOff val="1917"/>
            <a:lumOff val="267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>
              <a:solidFill>
                <a:schemeClr val="tx1"/>
              </a:solidFill>
            </a:rPr>
            <a:t>Métabolisme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7122578" y="1129480"/>
        <a:ext cx="1608967" cy="965380"/>
      </dsp:txXfrm>
    </dsp:sp>
    <dsp:sp modelId="{FAE9EFE0-B49D-FA47-AD61-D4F6F4C357F9}">
      <dsp:nvSpPr>
        <dsp:cNvPr id="0" name=""/>
        <dsp:cNvSpPr/>
      </dsp:nvSpPr>
      <dsp:spPr>
        <a:xfrm>
          <a:off x="8892442" y="1129480"/>
          <a:ext cx="1608967" cy="965380"/>
        </a:xfrm>
        <a:prstGeom prst="rect">
          <a:avLst/>
        </a:prstGeom>
        <a:solidFill>
          <a:schemeClr val="accent2">
            <a:hueOff val="-441348"/>
            <a:satOff val="2109"/>
            <a:lumOff val="294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>
              <a:solidFill>
                <a:schemeClr val="tx1"/>
              </a:solidFill>
            </a:rPr>
            <a:t>Vieillissement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8892442" y="1129480"/>
        <a:ext cx="1608967" cy="965380"/>
      </dsp:txXfrm>
    </dsp:sp>
    <dsp:sp modelId="{1C9528AF-B641-0147-8FF5-470A0E983FB0}">
      <dsp:nvSpPr>
        <dsp:cNvPr id="0" name=""/>
        <dsp:cNvSpPr/>
      </dsp:nvSpPr>
      <dsp:spPr>
        <a:xfrm>
          <a:off x="43120" y="2255757"/>
          <a:ext cx="1608967" cy="965380"/>
        </a:xfrm>
        <a:prstGeom prst="rect">
          <a:avLst/>
        </a:prstGeom>
        <a:solidFill>
          <a:schemeClr val="accent2">
            <a:hueOff val="-481471"/>
            <a:satOff val="2301"/>
            <a:lumOff val="3209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chemeClr val="tx1"/>
              </a:solidFill>
            </a:rPr>
            <a:t>Muscles</a:t>
          </a:r>
        </a:p>
      </dsp:txBody>
      <dsp:txXfrm>
        <a:off x="43120" y="2255757"/>
        <a:ext cx="1608967" cy="965380"/>
      </dsp:txXfrm>
    </dsp:sp>
    <dsp:sp modelId="{1DD63622-80FE-A142-8E77-E7D4E26B8206}">
      <dsp:nvSpPr>
        <dsp:cNvPr id="0" name=""/>
        <dsp:cNvSpPr/>
      </dsp:nvSpPr>
      <dsp:spPr>
        <a:xfrm>
          <a:off x="1812984" y="2255757"/>
          <a:ext cx="1608967" cy="965380"/>
        </a:xfrm>
        <a:prstGeom prst="rect">
          <a:avLst/>
        </a:prstGeom>
        <a:solidFill>
          <a:schemeClr val="accent2">
            <a:hueOff val="-521593"/>
            <a:satOff val="2492"/>
            <a:lumOff val="3476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>
              <a:solidFill>
                <a:schemeClr val="tx1"/>
              </a:solidFill>
            </a:rPr>
            <a:t>Os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1812984" y="2255757"/>
        <a:ext cx="1608967" cy="965380"/>
      </dsp:txXfrm>
    </dsp:sp>
    <dsp:sp modelId="{B61E813F-D356-044B-88F9-37CC3D60E2C4}">
      <dsp:nvSpPr>
        <dsp:cNvPr id="0" name=""/>
        <dsp:cNvSpPr/>
      </dsp:nvSpPr>
      <dsp:spPr>
        <a:xfrm>
          <a:off x="3582849" y="2255757"/>
          <a:ext cx="1608967" cy="965380"/>
        </a:xfrm>
        <a:prstGeom prst="rect">
          <a:avLst/>
        </a:prstGeom>
        <a:solidFill>
          <a:schemeClr val="accent2">
            <a:hueOff val="-561716"/>
            <a:satOff val="2684"/>
            <a:lumOff val="374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chemeClr val="tx1"/>
              </a:solidFill>
            </a:rPr>
            <a:t>Glucose</a:t>
          </a:r>
        </a:p>
      </dsp:txBody>
      <dsp:txXfrm>
        <a:off x="3582849" y="2255757"/>
        <a:ext cx="1608967" cy="965380"/>
      </dsp:txXfrm>
    </dsp:sp>
    <dsp:sp modelId="{DFA256B6-9D08-AE4D-9339-B0E80F155B36}">
      <dsp:nvSpPr>
        <dsp:cNvPr id="0" name=""/>
        <dsp:cNvSpPr/>
      </dsp:nvSpPr>
      <dsp:spPr>
        <a:xfrm>
          <a:off x="5352713" y="2255757"/>
          <a:ext cx="1608967" cy="965380"/>
        </a:xfrm>
        <a:prstGeom prst="rect">
          <a:avLst/>
        </a:prstGeom>
        <a:solidFill>
          <a:schemeClr val="accent2">
            <a:hueOff val="-601838"/>
            <a:satOff val="2876"/>
            <a:lumOff val="401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chemeClr val="tx1"/>
              </a:solidFill>
            </a:rPr>
            <a:t>Digestion</a:t>
          </a:r>
        </a:p>
      </dsp:txBody>
      <dsp:txXfrm>
        <a:off x="5352713" y="2255757"/>
        <a:ext cx="1608967" cy="965380"/>
      </dsp:txXfrm>
    </dsp:sp>
    <dsp:sp modelId="{144CE97E-7DD5-E84C-A829-4C9DC37266C1}">
      <dsp:nvSpPr>
        <dsp:cNvPr id="0" name=""/>
        <dsp:cNvSpPr/>
      </dsp:nvSpPr>
      <dsp:spPr>
        <a:xfrm>
          <a:off x="7122578" y="2255757"/>
          <a:ext cx="1608967" cy="965380"/>
        </a:xfrm>
        <a:prstGeom prst="rect">
          <a:avLst/>
        </a:prstGeom>
        <a:solidFill>
          <a:schemeClr val="accent2">
            <a:hueOff val="-641961"/>
            <a:satOff val="3068"/>
            <a:lumOff val="4279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>
              <a:solidFill>
                <a:schemeClr val="tx1"/>
              </a:solidFill>
            </a:rPr>
            <a:t>Cœur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7122578" y="2255757"/>
        <a:ext cx="1608967" cy="965380"/>
      </dsp:txXfrm>
    </dsp:sp>
    <dsp:sp modelId="{3C8B1731-C478-0345-8824-1FC75D12BBA9}">
      <dsp:nvSpPr>
        <dsp:cNvPr id="0" name=""/>
        <dsp:cNvSpPr/>
      </dsp:nvSpPr>
      <dsp:spPr>
        <a:xfrm>
          <a:off x="8892442" y="2255757"/>
          <a:ext cx="1608967" cy="965380"/>
        </a:xfrm>
        <a:prstGeom prst="rect">
          <a:avLst/>
        </a:prstGeom>
        <a:solidFill>
          <a:schemeClr val="accent2">
            <a:hueOff val="-682083"/>
            <a:satOff val="3259"/>
            <a:lumOff val="4546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>
              <a:solidFill>
                <a:schemeClr val="tx1"/>
              </a:solidFill>
            </a:rPr>
            <a:t>Poumons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8892442" y="2255757"/>
        <a:ext cx="1608967" cy="965380"/>
      </dsp:txXfrm>
    </dsp:sp>
    <dsp:sp modelId="{4D339B24-BDA4-A94E-8D0F-E17814FD4134}">
      <dsp:nvSpPr>
        <dsp:cNvPr id="0" name=""/>
        <dsp:cNvSpPr/>
      </dsp:nvSpPr>
      <dsp:spPr>
        <a:xfrm>
          <a:off x="928052" y="3382035"/>
          <a:ext cx="1608967" cy="965380"/>
        </a:xfrm>
        <a:prstGeom prst="rect">
          <a:avLst/>
        </a:prstGeom>
        <a:solidFill>
          <a:schemeClr val="accent2">
            <a:hueOff val="-722206"/>
            <a:satOff val="3451"/>
            <a:lumOff val="4813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chemeClr val="tx1"/>
              </a:solidFill>
            </a:rPr>
            <a:t>Cancer</a:t>
          </a:r>
        </a:p>
      </dsp:txBody>
      <dsp:txXfrm>
        <a:off x="928052" y="3382035"/>
        <a:ext cx="1608967" cy="965380"/>
      </dsp:txXfrm>
    </dsp:sp>
    <dsp:sp modelId="{3616694B-B73C-0C47-963D-91079AD2E7F6}">
      <dsp:nvSpPr>
        <dsp:cNvPr id="0" name=""/>
        <dsp:cNvSpPr/>
      </dsp:nvSpPr>
      <dsp:spPr>
        <a:xfrm>
          <a:off x="2697917" y="3382035"/>
          <a:ext cx="1608967" cy="965380"/>
        </a:xfrm>
        <a:prstGeom prst="rect">
          <a:avLst/>
        </a:prstGeom>
        <a:solidFill>
          <a:schemeClr val="accent2">
            <a:hueOff val="-762328"/>
            <a:satOff val="3643"/>
            <a:lumOff val="508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 err="1">
              <a:solidFill>
                <a:schemeClr val="tx1"/>
              </a:solidFill>
            </a:rPr>
            <a:t>Peau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2697917" y="3382035"/>
        <a:ext cx="1608967" cy="965380"/>
      </dsp:txXfrm>
    </dsp:sp>
    <dsp:sp modelId="{64E9434F-BF3E-444B-8CDB-AEB9035547C3}">
      <dsp:nvSpPr>
        <dsp:cNvPr id="0" name=""/>
        <dsp:cNvSpPr/>
      </dsp:nvSpPr>
      <dsp:spPr>
        <a:xfrm>
          <a:off x="4467781" y="3382035"/>
          <a:ext cx="1608967" cy="965380"/>
        </a:xfrm>
        <a:prstGeom prst="rect">
          <a:avLst/>
        </a:prstGeom>
        <a:solidFill>
          <a:schemeClr val="accent2">
            <a:hueOff val="-802451"/>
            <a:satOff val="3835"/>
            <a:lumOff val="5348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chemeClr val="tx1"/>
              </a:solidFill>
            </a:rPr>
            <a:t>Yeux</a:t>
          </a:r>
        </a:p>
      </dsp:txBody>
      <dsp:txXfrm>
        <a:off x="4467781" y="3382035"/>
        <a:ext cx="1608967" cy="965380"/>
      </dsp:txXfrm>
    </dsp:sp>
    <dsp:sp modelId="{88BBA33A-58A0-0240-B35A-528EC8D91FC1}">
      <dsp:nvSpPr>
        <dsp:cNvPr id="0" name=""/>
        <dsp:cNvSpPr/>
      </dsp:nvSpPr>
      <dsp:spPr>
        <a:xfrm>
          <a:off x="6237646" y="3382035"/>
          <a:ext cx="1608967" cy="965380"/>
        </a:xfrm>
        <a:prstGeom prst="rect">
          <a:avLst/>
        </a:prstGeom>
        <a:solidFill>
          <a:schemeClr val="accent2">
            <a:hueOff val="-842573"/>
            <a:satOff val="4026"/>
            <a:lumOff val="5616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chemeClr val="tx1"/>
              </a:solidFill>
            </a:rPr>
            <a:t>Social</a:t>
          </a:r>
        </a:p>
      </dsp:txBody>
      <dsp:txXfrm>
        <a:off x="6237646" y="3382035"/>
        <a:ext cx="1608967" cy="965380"/>
      </dsp:txXfrm>
    </dsp:sp>
    <dsp:sp modelId="{29FF617C-5AC9-454B-A9C9-8438D10C19A4}">
      <dsp:nvSpPr>
        <dsp:cNvPr id="0" name=""/>
        <dsp:cNvSpPr/>
      </dsp:nvSpPr>
      <dsp:spPr>
        <a:xfrm>
          <a:off x="8007510" y="3382035"/>
          <a:ext cx="1608967" cy="965380"/>
        </a:xfrm>
        <a:prstGeom prst="rect">
          <a:avLst/>
        </a:prstGeom>
        <a:solidFill>
          <a:schemeClr val="accent2">
            <a:hueOff val="-882696"/>
            <a:satOff val="4218"/>
            <a:lumOff val="5883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chemeClr val="tx1"/>
              </a:solidFill>
            </a:rPr>
            <a:t>Amusement!</a:t>
          </a:r>
        </a:p>
      </dsp:txBody>
      <dsp:txXfrm>
        <a:off x="8007510" y="3382035"/>
        <a:ext cx="1608967" cy="96538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FDC0F4-2F84-2F43-8EC8-06E518B29297}">
      <dsp:nvSpPr>
        <dsp:cNvPr id="0" name=""/>
        <dsp:cNvSpPr/>
      </dsp:nvSpPr>
      <dsp:spPr>
        <a:xfrm>
          <a:off x="1438015" y="726569"/>
          <a:ext cx="888029" cy="888029"/>
        </a:xfrm>
        <a:prstGeom prst="gear9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00" kern="1200" dirty="0" err="1"/>
            <a:t>Sommeil</a:t>
          </a:r>
          <a:endParaRPr lang="en-GB" sz="600" kern="1200" dirty="0"/>
        </a:p>
      </dsp:txBody>
      <dsp:txXfrm>
        <a:off x="1616548" y="934586"/>
        <a:ext cx="530963" cy="456465"/>
      </dsp:txXfrm>
    </dsp:sp>
    <dsp:sp modelId="{7A406FA2-5117-194C-BB6F-AAFD7029EF58}">
      <dsp:nvSpPr>
        <dsp:cNvPr id="0" name=""/>
        <dsp:cNvSpPr/>
      </dsp:nvSpPr>
      <dsp:spPr>
        <a:xfrm>
          <a:off x="921343" y="516671"/>
          <a:ext cx="645839" cy="645839"/>
        </a:xfrm>
        <a:prstGeom prst="gear6">
          <a:avLst/>
        </a:prstGeom>
        <a:solidFill>
          <a:schemeClr val="accent3">
            <a:hueOff val="3029567"/>
            <a:satOff val="18270"/>
            <a:lumOff val="-1107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00" kern="1200" dirty="0" err="1"/>
            <a:t>Activité</a:t>
          </a:r>
          <a:endParaRPr lang="en-GB" sz="600" kern="1200" dirty="0"/>
        </a:p>
      </dsp:txBody>
      <dsp:txXfrm>
        <a:off x="1083935" y="680246"/>
        <a:ext cx="320655" cy="318689"/>
      </dsp:txXfrm>
    </dsp:sp>
    <dsp:sp modelId="{2D46E493-C4D8-6842-BD05-6426F61EB0B8}">
      <dsp:nvSpPr>
        <dsp:cNvPr id="0" name=""/>
        <dsp:cNvSpPr/>
      </dsp:nvSpPr>
      <dsp:spPr>
        <a:xfrm rot="20700000">
          <a:off x="1283079" y="71108"/>
          <a:ext cx="632790" cy="632790"/>
        </a:xfrm>
        <a:prstGeom prst="gear6">
          <a:avLst/>
        </a:prstGeom>
        <a:solidFill>
          <a:schemeClr val="accent3">
            <a:hueOff val="6059134"/>
            <a:satOff val="36540"/>
            <a:lumOff val="-221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00" kern="1200" dirty="0"/>
            <a:t>Nutrition</a:t>
          </a:r>
        </a:p>
      </dsp:txBody>
      <dsp:txXfrm rot="-20700000">
        <a:off x="1421869" y="209897"/>
        <a:ext cx="355211" cy="355211"/>
      </dsp:txXfrm>
    </dsp:sp>
    <dsp:sp modelId="{CB5DC0E8-7525-9245-946D-FF487D9A9275}">
      <dsp:nvSpPr>
        <dsp:cNvPr id="0" name=""/>
        <dsp:cNvSpPr/>
      </dsp:nvSpPr>
      <dsp:spPr>
        <a:xfrm>
          <a:off x="1344721" y="606108"/>
          <a:ext cx="1136677" cy="1136677"/>
        </a:xfrm>
        <a:prstGeom prst="circularArrow">
          <a:avLst>
            <a:gd name="adj1" fmla="val 4688"/>
            <a:gd name="adj2" fmla="val 299029"/>
            <a:gd name="adj3" fmla="val 2385404"/>
            <a:gd name="adj4" fmla="val 16179104"/>
            <a:gd name="adj5" fmla="val 5469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D02AE9-4D55-9345-BA26-20AF5B99B114}">
      <dsp:nvSpPr>
        <dsp:cNvPr id="0" name=""/>
        <dsp:cNvSpPr/>
      </dsp:nvSpPr>
      <dsp:spPr>
        <a:xfrm>
          <a:off x="806966" y="384842"/>
          <a:ext cx="825867" cy="825867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3">
            <a:hueOff val="3029567"/>
            <a:satOff val="18270"/>
            <a:lumOff val="-1107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FC7065-30B5-B344-80BB-E26A46FFA3F6}">
      <dsp:nvSpPr>
        <dsp:cNvPr id="0" name=""/>
        <dsp:cNvSpPr/>
      </dsp:nvSpPr>
      <dsp:spPr>
        <a:xfrm>
          <a:off x="1136708" y="-56425"/>
          <a:ext cx="890451" cy="89045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3">
            <a:hueOff val="6059134"/>
            <a:satOff val="36540"/>
            <a:lumOff val="-2215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BB60C5-7D11-9149-B77A-E4B67064F2C5}">
      <dsp:nvSpPr>
        <dsp:cNvPr id="0" name=""/>
        <dsp:cNvSpPr/>
      </dsp:nvSpPr>
      <dsp:spPr>
        <a:xfrm>
          <a:off x="3558" y="136834"/>
          <a:ext cx="1926556" cy="1155934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>
              <a:solidFill>
                <a:schemeClr val="tx1"/>
              </a:solidFill>
            </a:rPr>
            <a:t>Focus</a:t>
          </a:r>
        </a:p>
      </dsp:txBody>
      <dsp:txXfrm>
        <a:off x="3558" y="136834"/>
        <a:ext cx="1926556" cy="1155934"/>
      </dsp:txXfrm>
    </dsp:sp>
    <dsp:sp modelId="{F065E942-94E3-B445-A2BB-EFD1F7BC1215}">
      <dsp:nvSpPr>
        <dsp:cNvPr id="0" name=""/>
        <dsp:cNvSpPr/>
      </dsp:nvSpPr>
      <dsp:spPr>
        <a:xfrm>
          <a:off x="2122770" y="136834"/>
          <a:ext cx="1926556" cy="1155934"/>
        </a:xfrm>
        <a:prstGeom prst="rect">
          <a:avLst/>
        </a:prstGeom>
        <a:gradFill rotWithShape="0">
          <a:gsLst>
            <a:gs pos="0">
              <a:schemeClr val="accent2">
                <a:hueOff val="-67900"/>
                <a:satOff val="324"/>
                <a:lumOff val="45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67900"/>
                <a:satOff val="324"/>
                <a:lumOff val="45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67900"/>
                <a:satOff val="324"/>
                <a:lumOff val="45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 err="1">
              <a:solidFill>
                <a:schemeClr val="tx1"/>
              </a:solidFill>
            </a:rPr>
            <a:t>Résilience</a:t>
          </a:r>
          <a:endParaRPr lang="en-US" sz="1600" b="0" kern="1200" dirty="0">
            <a:solidFill>
              <a:schemeClr val="tx1"/>
            </a:solidFill>
          </a:endParaRPr>
        </a:p>
      </dsp:txBody>
      <dsp:txXfrm>
        <a:off x="2122770" y="136834"/>
        <a:ext cx="1926556" cy="1155934"/>
      </dsp:txXfrm>
    </dsp:sp>
    <dsp:sp modelId="{9328714F-2297-E14C-B4A3-9D32F4202FA6}">
      <dsp:nvSpPr>
        <dsp:cNvPr id="0" name=""/>
        <dsp:cNvSpPr/>
      </dsp:nvSpPr>
      <dsp:spPr>
        <a:xfrm>
          <a:off x="4241983" y="136834"/>
          <a:ext cx="1926556" cy="1155934"/>
        </a:xfrm>
        <a:prstGeom prst="rect">
          <a:avLst/>
        </a:prstGeom>
        <a:gradFill rotWithShape="0">
          <a:gsLst>
            <a:gs pos="0">
              <a:schemeClr val="accent2">
                <a:hueOff val="-135799"/>
                <a:satOff val="649"/>
                <a:lumOff val="90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135799"/>
                <a:satOff val="649"/>
                <a:lumOff val="90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135799"/>
                <a:satOff val="649"/>
                <a:lumOff val="90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 err="1">
              <a:solidFill>
                <a:schemeClr val="tx1"/>
              </a:solidFill>
            </a:rPr>
            <a:t>Obesité</a:t>
          </a:r>
          <a:endParaRPr lang="en-US" sz="1600" b="0" kern="1200" dirty="0">
            <a:solidFill>
              <a:schemeClr val="tx1"/>
            </a:solidFill>
          </a:endParaRPr>
        </a:p>
      </dsp:txBody>
      <dsp:txXfrm>
        <a:off x="4241983" y="136834"/>
        <a:ext cx="1926556" cy="1155934"/>
      </dsp:txXfrm>
    </dsp:sp>
    <dsp:sp modelId="{D11DB4BE-A8EE-3642-8557-198E4B6D5CC5}">
      <dsp:nvSpPr>
        <dsp:cNvPr id="0" name=""/>
        <dsp:cNvSpPr/>
      </dsp:nvSpPr>
      <dsp:spPr>
        <a:xfrm>
          <a:off x="6361196" y="136834"/>
          <a:ext cx="1926556" cy="1155934"/>
        </a:xfrm>
        <a:prstGeom prst="rect">
          <a:avLst/>
        </a:prstGeom>
        <a:gradFill rotWithShape="0">
          <a:gsLst>
            <a:gs pos="0">
              <a:schemeClr val="accent2">
                <a:hueOff val="-203699"/>
                <a:satOff val="973"/>
                <a:lumOff val="135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203699"/>
                <a:satOff val="973"/>
                <a:lumOff val="135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203699"/>
                <a:satOff val="973"/>
                <a:lumOff val="135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 err="1">
              <a:solidFill>
                <a:schemeClr val="tx1"/>
              </a:solidFill>
            </a:rPr>
            <a:t>Diabète</a:t>
          </a:r>
          <a:r>
            <a:rPr lang="en-US" sz="1600" b="0" kern="1200" dirty="0">
              <a:solidFill>
                <a:schemeClr val="tx1"/>
              </a:solidFill>
            </a:rPr>
            <a:t> </a:t>
          </a:r>
        </a:p>
      </dsp:txBody>
      <dsp:txXfrm>
        <a:off x="6361196" y="136834"/>
        <a:ext cx="1926556" cy="1155934"/>
      </dsp:txXfrm>
    </dsp:sp>
    <dsp:sp modelId="{070E6CD8-CBFA-B546-855B-3FA060853BD3}">
      <dsp:nvSpPr>
        <dsp:cNvPr id="0" name=""/>
        <dsp:cNvSpPr/>
      </dsp:nvSpPr>
      <dsp:spPr>
        <a:xfrm>
          <a:off x="8480408" y="136834"/>
          <a:ext cx="1926556" cy="1155934"/>
        </a:xfrm>
        <a:prstGeom prst="rect">
          <a:avLst/>
        </a:prstGeom>
        <a:gradFill rotWithShape="0">
          <a:gsLst>
            <a:gs pos="0">
              <a:schemeClr val="accent2">
                <a:hueOff val="-271599"/>
                <a:satOff val="1298"/>
                <a:lumOff val="181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271599"/>
                <a:satOff val="1298"/>
                <a:lumOff val="181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271599"/>
                <a:satOff val="1298"/>
                <a:lumOff val="181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>
              <a:solidFill>
                <a:schemeClr val="tx1"/>
              </a:solidFill>
            </a:rPr>
            <a:t>Maladies </a:t>
          </a:r>
          <a:r>
            <a:rPr lang="en-US" sz="1600" b="0" kern="1200" dirty="0" err="1">
              <a:solidFill>
                <a:schemeClr val="tx1"/>
              </a:solidFill>
            </a:rPr>
            <a:t>cardiovasculaires</a:t>
          </a:r>
          <a:endParaRPr lang="en-US" sz="1600" b="0" kern="1200" dirty="0">
            <a:solidFill>
              <a:schemeClr val="tx1"/>
            </a:solidFill>
          </a:endParaRPr>
        </a:p>
      </dsp:txBody>
      <dsp:txXfrm>
        <a:off x="8480408" y="136834"/>
        <a:ext cx="1926556" cy="1155934"/>
      </dsp:txXfrm>
    </dsp:sp>
    <dsp:sp modelId="{ADDBD566-B6B6-1848-8354-CDFB2F1184B7}">
      <dsp:nvSpPr>
        <dsp:cNvPr id="0" name=""/>
        <dsp:cNvSpPr/>
      </dsp:nvSpPr>
      <dsp:spPr>
        <a:xfrm>
          <a:off x="3558" y="1485423"/>
          <a:ext cx="1926556" cy="1155934"/>
        </a:xfrm>
        <a:prstGeom prst="rect">
          <a:avLst/>
        </a:prstGeom>
        <a:gradFill rotWithShape="0">
          <a:gsLst>
            <a:gs pos="0">
              <a:schemeClr val="accent2">
                <a:hueOff val="-339499"/>
                <a:satOff val="1622"/>
                <a:lumOff val="226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339499"/>
                <a:satOff val="1622"/>
                <a:lumOff val="226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339499"/>
                <a:satOff val="1622"/>
                <a:lumOff val="226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 err="1">
              <a:solidFill>
                <a:schemeClr val="tx1"/>
              </a:solidFill>
            </a:rPr>
            <a:t>Immunité</a:t>
          </a:r>
          <a:endParaRPr lang="en-US" sz="1600" b="0" kern="1200" dirty="0">
            <a:solidFill>
              <a:schemeClr val="tx1"/>
            </a:solidFill>
          </a:endParaRPr>
        </a:p>
      </dsp:txBody>
      <dsp:txXfrm>
        <a:off x="3558" y="1485423"/>
        <a:ext cx="1926556" cy="1155934"/>
      </dsp:txXfrm>
    </dsp:sp>
    <dsp:sp modelId="{4A6D9546-BBB8-B44E-AEAE-D09A816A0DB9}">
      <dsp:nvSpPr>
        <dsp:cNvPr id="0" name=""/>
        <dsp:cNvSpPr/>
      </dsp:nvSpPr>
      <dsp:spPr>
        <a:xfrm>
          <a:off x="2122770" y="1485423"/>
          <a:ext cx="1926556" cy="1155934"/>
        </a:xfrm>
        <a:prstGeom prst="rect">
          <a:avLst/>
        </a:prstGeom>
        <a:gradFill rotWithShape="0">
          <a:gsLst>
            <a:gs pos="0">
              <a:schemeClr val="accent2">
                <a:hueOff val="-407398"/>
                <a:satOff val="1947"/>
                <a:lumOff val="271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407398"/>
                <a:satOff val="1947"/>
                <a:lumOff val="271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407398"/>
                <a:satOff val="1947"/>
                <a:lumOff val="271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 err="1">
              <a:solidFill>
                <a:schemeClr val="tx1"/>
              </a:solidFill>
            </a:rPr>
            <a:t>Rhume</a:t>
          </a:r>
          <a:endParaRPr lang="en-US" sz="1600" b="0" kern="1200" dirty="0">
            <a:solidFill>
              <a:schemeClr val="tx1"/>
            </a:solidFill>
          </a:endParaRPr>
        </a:p>
      </dsp:txBody>
      <dsp:txXfrm>
        <a:off x="2122770" y="1485423"/>
        <a:ext cx="1926556" cy="1155934"/>
      </dsp:txXfrm>
    </dsp:sp>
    <dsp:sp modelId="{04185621-2BF9-A84B-9005-C102B1C3DA8E}">
      <dsp:nvSpPr>
        <dsp:cNvPr id="0" name=""/>
        <dsp:cNvSpPr/>
      </dsp:nvSpPr>
      <dsp:spPr>
        <a:xfrm>
          <a:off x="4241983" y="1485423"/>
          <a:ext cx="1926556" cy="1155934"/>
        </a:xfrm>
        <a:prstGeom prst="rect">
          <a:avLst/>
        </a:prstGeom>
        <a:gradFill rotWithShape="0">
          <a:gsLst>
            <a:gs pos="0">
              <a:schemeClr val="accent2">
                <a:hueOff val="-475298"/>
                <a:satOff val="2271"/>
                <a:lumOff val="316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475298"/>
                <a:satOff val="2271"/>
                <a:lumOff val="316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475298"/>
                <a:satOff val="2271"/>
                <a:lumOff val="316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 err="1">
              <a:solidFill>
                <a:schemeClr val="tx1"/>
              </a:solidFill>
            </a:rPr>
            <a:t>Apné</a:t>
          </a:r>
          <a:r>
            <a:rPr lang="en-US" sz="1600" b="0" kern="1200" dirty="0">
              <a:solidFill>
                <a:schemeClr val="tx1"/>
              </a:solidFill>
            </a:rPr>
            <a:t> du </a:t>
          </a:r>
          <a:r>
            <a:rPr lang="en-US" sz="1600" b="0" kern="1200" dirty="0" err="1">
              <a:solidFill>
                <a:schemeClr val="tx1"/>
              </a:solidFill>
            </a:rPr>
            <a:t>sommeil</a:t>
          </a:r>
          <a:endParaRPr lang="en-US" sz="1600" b="0" kern="1200" dirty="0">
            <a:solidFill>
              <a:schemeClr val="tx1"/>
            </a:solidFill>
          </a:endParaRPr>
        </a:p>
      </dsp:txBody>
      <dsp:txXfrm>
        <a:off x="4241983" y="1485423"/>
        <a:ext cx="1926556" cy="1155934"/>
      </dsp:txXfrm>
    </dsp:sp>
    <dsp:sp modelId="{E8A5BAB7-8CB1-EB4D-8C3C-D82B440C099D}">
      <dsp:nvSpPr>
        <dsp:cNvPr id="0" name=""/>
        <dsp:cNvSpPr/>
      </dsp:nvSpPr>
      <dsp:spPr>
        <a:xfrm>
          <a:off x="6361196" y="1485423"/>
          <a:ext cx="1926556" cy="1155934"/>
        </a:xfrm>
        <a:prstGeom prst="rect">
          <a:avLst/>
        </a:prstGeom>
        <a:gradFill rotWithShape="0">
          <a:gsLst>
            <a:gs pos="0">
              <a:schemeClr val="accent2">
                <a:hueOff val="-543198"/>
                <a:satOff val="2596"/>
                <a:lumOff val="362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543198"/>
                <a:satOff val="2596"/>
                <a:lumOff val="362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543198"/>
                <a:satOff val="2596"/>
                <a:lumOff val="362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 err="1">
              <a:solidFill>
                <a:schemeClr val="tx1"/>
              </a:solidFill>
            </a:rPr>
            <a:t>Métabolisme</a:t>
          </a:r>
          <a:r>
            <a:rPr lang="en-US" sz="1600" b="0" kern="1200" dirty="0">
              <a:solidFill>
                <a:schemeClr val="tx1"/>
              </a:solidFill>
            </a:rPr>
            <a:t> du glucose</a:t>
          </a:r>
        </a:p>
      </dsp:txBody>
      <dsp:txXfrm>
        <a:off x="6361196" y="1485423"/>
        <a:ext cx="1926556" cy="1155934"/>
      </dsp:txXfrm>
    </dsp:sp>
    <dsp:sp modelId="{A0DC9D80-0CAA-014F-AD56-12E4FEFDC00C}">
      <dsp:nvSpPr>
        <dsp:cNvPr id="0" name=""/>
        <dsp:cNvSpPr/>
      </dsp:nvSpPr>
      <dsp:spPr>
        <a:xfrm>
          <a:off x="8480408" y="1485423"/>
          <a:ext cx="1926556" cy="1155934"/>
        </a:xfrm>
        <a:prstGeom prst="rect">
          <a:avLst/>
        </a:prstGeom>
        <a:gradFill rotWithShape="0">
          <a:gsLst>
            <a:gs pos="0">
              <a:schemeClr val="accent2">
                <a:hueOff val="-611097"/>
                <a:satOff val="2920"/>
                <a:lumOff val="407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611097"/>
                <a:satOff val="2920"/>
                <a:lumOff val="407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611097"/>
                <a:satOff val="2920"/>
                <a:lumOff val="407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 err="1">
              <a:solidFill>
                <a:schemeClr val="tx1"/>
              </a:solidFill>
            </a:rPr>
            <a:t>Sensibilité</a:t>
          </a:r>
          <a:r>
            <a:rPr lang="en-US" sz="1600" b="0" kern="1200" dirty="0">
              <a:solidFill>
                <a:schemeClr val="tx1"/>
              </a:solidFill>
            </a:rPr>
            <a:t> </a:t>
          </a:r>
          <a:r>
            <a:rPr lang="en-US" sz="1600" b="0" kern="1200" dirty="0" err="1">
              <a:solidFill>
                <a:schemeClr val="tx1"/>
              </a:solidFill>
            </a:rPr>
            <a:t>à</a:t>
          </a:r>
          <a:r>
            <a:rPr lang="en-US" sz="1600" b="0" kern="1200" dirty="0">
              <a:solidFill>
                <a:schemeClr val="tx1"/>
              </a:solidFill>
            </a:rPr>
            <a:t> </a:t>
          </a:r>
          <a:r>
            <a:rPr lang="en-US" sz="1600" b="0" kern="1200" dirty="0" err="1">
              <a:solidFill>
                <a:schemeClr val="tx1"/>
              </a:solidFill>
            </a:rPr>
            <a:t>l’insuline</a:t>
          </a:r>
          <a:endParaRPr lang="en-US" sz="1600" b="0" kern="1200" dirty="0">
            <a:solidFill>
              <a:schemeClr val="tx1"/>
            </a:solidFill>
          </a:endParaRPr>
        </a:p>
      </dsp:txBody>
      <dsp:txXfrm>
        <a:off x="8480408" y="1485423"/>
        <a:ext cx="1926556" cy="1155934"/>
      </dsp:txXfrm>
    </dsp:sp>
    <dsp:sp modelId="{B749ABAA-4C33-8447-82C1-E24F6F121357}">
      <dsp:nvSpPr>
        <dsp:cNvPr id="0" name=""/>
        <dsp:cNvSpPr/>
      </dsp:nvSpPr>
      <dsp:spPr>
        <a:xfrm>
          <a:off x="1063164" y="2834013"/>
          <a:ext cx="1926556" cy="1155934"/>
        </a:xfrm>
        <a:prstGeom prst="rect">
          <a:avLst/>
        </a:prstGeom>
        <a:gradFill rotWithShape="0">
          <a:gsLst>
            <a:gs pos="0">
              <a:schemeClr val="accent2">
                <a:hueOff val="-678997"/>
                <a:satOff val="3245"/>
                <a:lumOff val="452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678997"/>
                <a:satOff val="3245"/>
                <a:lumOff val="452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678997"/>
                <a:satOff val="3245"/>
                <a:lumOff val="452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 err="1">
              <a:solidFill>
                <a:schemeClr val="tx1"/>
              </a:solidFill>
            </a:rPr>
            <a:t>Faim</a:t>
          </a:r>
          <a:r>
            <a:rPr lang="en-US" sz="1600" b="0" kern="1200" dirty="0">
              <a:solidFill>
                <a:schemeClr val="tx1"/>
              </a:solidFill>
            </a:rPr>
            <a:t> et appétit</a:t>
          </a:r>
        </a:p>
      </dsp:txBody>
      <dsp:txXfrm>
        <a:off x="1063164" y="2834013"/>
        <a:ext cx="1926556" cy="1155934"/>
      </dsp:txXfrm>
    </dsp:sp>
    <dsp:sp modelId="{7A9B52F6-71DB-2448-A539-79922CA660F8}">
      <dsp:nvSpPr>
        <dsp:cNvPr id="0" name=""/>
        <dsp:cNvSpPr/>
      </dsp:nvSpPr>
      <dsp:spPr>
        <a:xfrm>
          <a:off x="3182377" y="2834013"/>
          <a:ext cx="1926556" cy="1155934"/>
        </a:xfrm>
        <a:prstGeom prst="rect">
          <a:avLst/>
        </a:prstGeom>
        <a:gradFill rotWithShape="0">
          <a:gsLst>
            <a:gs pos="0">
              <a:schemeClr val="accent2">
                <a:hueOff val="-746897"/>
                <a:satOff val="3569"/>
                <a:lumOff val="497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746897"/>
                <a:satOff val="3569"/>
                <a:lumOff val="497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746897"/>
                <a:satOff val="3569"/>
                <a:lumOff val="497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 err="1">
              <a:solidFill>
                <a:schemeClr val="tx1"/>
              </a:solidFill>
            </a:rPr>
            <a:t>Énergie</a:t>
          </a:r>
          <a:r>
            <a:rPr lang="en-US" sz="1600" b="0" kern="1200" dirty="0">
              <a:solidFill>
                <a:schemeClr val="tx1"/>
              </a:solidFill>
            </a:rPr>
            <a:t> et </a:t>
          </a:r>
          <a:r>
            <a:rPr lang="en-US" sz="1600" b="0" kern="1200" dirty="0" err="1">
              <a:solidFill>
                <a:schemeClr val="tx1"/>
              </a:solidFill>
            </a:rPr>
            <a:t>exercice</a:t>
          </a:r>
          <a:endParaRPr lang="en-US" sz="1600" b="0" kern="1200" dirty="0">
            <a:solidFill>
              <a:schemeClr val="tx1"/>
            </a:solidFill>
          </a:endParaRPr>
        </a:p>
      </dsp:txBody>
      <dsp:txXfrm>
        <a:off x="3182377" y="2834013"/>
        <a:ext cx="1926556" cy="1155934"/>
      </dsp:txXfrm>
    </dsp:sp>
    <dsp:sp modelId="{3047AA08-BDEE-3144-93DD-6B6FBF8AE1BA}">
      <dsp:nvSpPr>
        <dsp:cNvPr id="0" name=""/>
        <dsp:cNvSpPr/>
      </dsp:nvSpPr>
      <dsp:spPr>
        <a:xfrm>
          <a:off x="5301589" y="2834013"/>
          <a:ext cx="1926556" cy="1155934"/>
        </a:xfrm>
        <a:prstGeom prst="rect">
          <a:avLst/>
        </a:prstGeom>
        <a:gradFill rotWithShape="0">
          <a:gsLst>
            <a:gs pos="0">
              <a:schemeClr val="accent2">
                <a:hueOff val="-814796"/>
                <a:satOff val="3894"/>
                <a:lumOff val="543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814796"/>
                <a:satOff val="3894"/>
                <a:lumOff val="543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814796"/>
                <a:satOff val="3894"/>
                <a:lumOff val="543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 err="1">
              <a:solidFill>
                <a:schemeClr val="tx1"/>
              </a:solidFill>
            </a:rPr>
            <a:t>Humeur</a:t>
          </a:r>
          <a:endParaRPr lang="en-US" sz="1600" b="0" kern="1200" dirty="0">
            <a:solidFill>
              <a:schemeClr val="tx1"/>
            </a:solidFill>
          </a:endParaRPr>
        </a:p>
      </dsp:txBody>
      <dsp:txXfrm>
        <a:off x="5301589" y="2834013"/>
        <a:ext cx="1926556" cy="1155934"/>
      </dsp:txXfrm>
    </dsp:sp>
    <dsp:sp modelId="{90BAFEB9-B49D-4443-B244-52E5AADA2621}">
      <dsp:nvSpPr>
        <dsp:cNvPr id="0" name=""/>
        <dsp:cNvSpPr/>
      </dsp:nvSpPr>
      <dsp:spPr>
        <a:xfrm>
          <a:off x="7420802" y="2834013"/>
          <a:ext cx="1926556" cy="1155934"/>
        </a:xfrm>
        <a:prstGeom prst="rect">
          <a:avLst/>
        </a:prstGeom>
        <a:gradFill rotWithShape="0">
          <a:gsLst>
            <a:gs pos="0">
              <a:schemeClr val="accent2">
                <a:hueOff val="-882696"/>
                <a:satOff val="4218"/>
                <a:lumOff val="588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-882696"/>
                <a:satOff val="4218"/>
                <a:lumOff val="588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-882696"/>
                <a:satOff val="4218"/>
                <a:lumOff val="588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kern="1200" dirty="0">
              <a:solidFill>
                <a:schemeClr val="tx1"/>
              </a:solidFill>
            </a:rPr>
            <a:t>Choix </a:t>
          </a:r>
          <a:r>
            <a:rPr lang="en-US" sz="1600" b="0" kern="1200" dirty="0" err="1">
              <a:solidFill>
                <a:schemeClr val="tx1"/>
              </a:solidFill>
            </a:rPr>
            <a:t>alimentaires</a:t>
          </a:r>
          <a:endParaRPr lang="en-US" sz="1600" b="0" kern="1200" dirty="0">
            <a:solidFill>
              <a:schemeClr val="tx1"/>
            </a:solidFill>
          </a:endParaRPr>
        </a:p>
      </dsp:txBody>
      <dsp:txXfrm>
        <a:off x="7420802" y="2834013"/>
        <a:ext cx="1926556" cy="1155934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FDC0F4-2F84-2F43-8EC8-06E518B29297}">
      <dsp:nvSpPr>
        <dsp:cNvPr id="0" name=""/>
        <dsp:cNvSpPr/>
      </dsp:nvSpPr>
      <dsp:spPr>
        <a:xfrm>
          <a:off x="1438015" y="726569"/>
          <a:ext cx="888029" cy="888029"/>
        </a:xfrm>
        <a:prstGeom prst="gear9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00" kern="1200" dirty="0" err="1"/>
            <a:t>Sommeil</a:t>
          </a:r>
          <a:endParaRPr lang="en-GB" sz="600" kern="1200" dirty="0"/>
        </a:p>
      </dsp:txBody>
      <dsp:txXfrm>
        <a:off x="1616548" y="934586"/>
        <a:ext cx="530963" cy="456465"/>
      </dsp:txXfrm>
    </dsp:sp>
    <dsp:sp modelId="{7A406FA2-5117-194C-BB6F-AAFD7029EF58}">
      <dsp:nvSpPr>
        <dsp:cNvPr id="0" name=""/>
        <dsp:cNvSpPr/>
      </dsp:nvSpPr>
      <dsp:spPr>
        <a:xfrm>
          <a:off x="921343" y="516671"/>
          <a:ext cx="645839" cy="645839"/>
        </a:xfrm>
        <a:prstGeom prst="gear6">
          <a:avLst/>
        </a:prstGeom>
        <a:solidFill>
          <a:schemeClr val="accent3">
            <a:hueOff val="3029567"/>
            <a:satOff val="18270"/>
            <a:lumOff val="-1107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00" kern="1200" dirty="0" err="1"/>
            <a:t>Activité</a:t>
          </a:r>
          <a:endParaRPr lang="en-GB" sz="600" kern="1200" dirty="0"/>
        </a:p>
      </dsp:txBody>
      <dsp:txXfrm>
        <a:off x="1083935" y="680246"/>
        <a:ext cx="320655" cy="318689"/>
      </dsp:txXfrm>
    </dsp:sp>
    <dsp:sp modelId="{2D46E493-C4D8-6842-BD05-6426F61EB0B8}">
      <dsp:nvSpPr>
        <dsp:cNvPr id="0" name=""/>
        <dsp:cNvSpPr/>
      </dsp:nvSpPr>
      <dsp:spPr>
        <a:xfrm rot="20700000">
          <a:off x="1283079" y="71108"/>
          <a:ext cx="632790" cy="632790"/>
        </a:xfrm>
        <a:prstGeom prst="gear6">
          <a:avLst/>
        </a:prstGeom>
        <a:solidFill>
          <a:schemeClr val="accent3">
            <a:hueOff val="6059134"/>
            <a:satOff val="36540"/>
            <a:lumOff val="-221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00" kern="1200" dirty="0"/>
            <a:t>Nutrition</a:t>
          </a:r>
        </a:p>
      </dsp:txBody>
      <dsp:txXfrm rot="-20700000">
        <a:off x="1421869" y="209897"/>
        <a:ext cx="355211" cy="355211"/>
      </dsp:txXfrm>
    </dsp:sp>
    <dsp:sp modelId="{CB5DC0E8-7525-9245-946D-FF487D9A9275}">
      <dsp:nvSpPr>
        <dsp:cNvPr id="0" name=""/>
        <dsp:cNvSpPr/>
      </dsp:nvSpPr>
      <dsp:spPr>
        <a:xfrm>
          <a:off x="1344721" y="606108"/>
          <a:ext cx="1136677" cy="1136677"/>
        </a:xfrm>
        <a:prstGeom prst="circularArrow">
          <a:avLst>
            <a:gd name="adj1" fmla="val 4688"/>
            <a:gd name="adj2" fmla="val 299029"/>
            <a:gd name="adj3" fmla="val 2385404"/>
            <a:gd name="adj4" fmla="val 16179104"/>
            <a:gd name="adj5" fmla="val 5469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D02AE9-4D55-9345-BA26-20AF5B99B114}">
      <dsp:nvSpPr>
        <dsp:cNvPr id="0" name=""/>
        <dsp:cNvSpPr/>
      </dsp:nvSpPr>
      <dsp:spPr>
        <a:xfrm>
          <a:off x="806966" y="384842"/>
          <a:ext cx="825867" cy="825867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3">
            <a:hueOff val="3029567"/>
            <a:satOff val="18270"/>
            <a:lumOff val="-1107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FC7065-30B5-B344-80BB-E26A46FFA3F6}">
      <dsp:nvSpPr>
        <dsp:cNvPr id="0" name=""/>
        <dsp:cNvSpPr/>
      </dsp:nvSpPr>
      <dsp:spPr>
        <a:xfrm>
          <a:off x="1136708" y="-56425"/>
          <a:ext cx="890451" cy="89045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3">
            <a:hueOff val="6059134"/>
            <a:satOff val="36540"/>
            <a:lumOff val="-2215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841F5A-522B-5A4B-A5D2-585AF442DC72}">
      <dsp:nvSpPr>
        <dsp:cNvPr id="0" name=""/>
        <dsp:cNvSpPr/>
      </dsp:nvSpPr>
      <dsp:spPr>
        <a:xfrm>
          <a:off x="8109545" y="1155355"/>
          <a:ext cx="3023260" cy="3023820"/>
        </a:xfrm>
        <a:prstGeom prst="ellipse">
          <a:avLst/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60860869-8568-E546-AF01-9D372C29198C}">
      <dsp:nvSpPr>
        <dsp:cNvPr id="0" name=""/>
        <dsp:cNvSpPr/>
      </dsp:nvSpPr>
      <dsp:spPr>
        <a:xfrm>
          <a:off x="8209927" y="1256166"/>
          <a:ext cx="2822497" cy="2822196"/>
        </a:xfrm>
        <a:prstGeom prst="ellipse">
          <a:avLst/>
        </a:prstGeom>
        <a:solidFill>
          <a:schemeClr val="accent2">
            <a:shade val="50000"/>
            <a:hueOff val="163982"/>
            <a:satOff val="-8456"/>
            <a:lumOff val="1671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5880" tIns="55880" rIns="55880" bIns="5588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400" b="1" kern="1200" dirty="0">
              <a:latin typeface="Century Gothic" panose="020B0502020202020204" pitchFamily="34" charset="0"/>
            </a:rPr>
            <a:t>60%</a:t>
          </a:r>
        </a:p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kern="1200" dirty="0">
              <a:latin typeface="Century Gothic" panose="020B0502020202020204" pitchFamily="34" charset="0"/>
            </a:rPr>
            <a:t>Manque de communication</a:t>
          </a:r>
          <a:r>
            <a:rPr lang="en-GB" sz="1600" b="0" kern="1200" dirty="0">
              <a:latin typeface="Century Gothic" panose="020B0502020202020204" pitchFamily="34" charset="0"/>
            </a:rPr>
            <a:t>
</a:t>
          </a:r>
          <a:endParaRPr lang="en-US" sz="1600" b="0" kern="1200" dirty="0">
            <a:latin typeface="Century Gothic" panose="020B0502020202020204" pitchFamily="34" charset="0"/>
          </a:endParaRPr>
        </a:p>
      </dsp:txBody>
      <dsp:txXfrm>
        <a:off x="8613422" y="1659413"/>
        <a:ext cx="2015507" cy="2015703"/>
      </dsp:txXfrm>
    </dsp:sp>
    <dsp:sp modelId="{83904CC3-8811-3743-83D1-038C2726D8AE}">
      <dsp:nvSpPr>
        <dsp:cNvPr id="0" name=""/>
        <dsp:cNvSpPr/>
      </dsp:nvSpPr>
      <dsp:spPr>
        <a:xfrm rot="2700000">
          <a:off x="4988559" y="1159010"/>
          <a:ext cx="3015979" cy="3015979"/>
        </a:xfrm>
        <a:prstGeom prst="teardrop">
          <a:avLst>
            <a:gd name="adj" fmla="val 100000"/>
          </a:avLst>
        </a:prstGeom>
        <a:solidFill>
          <a:schemeClr val="accent2">
            <a:shade val="50000"/>
            <a:hueOff val="327965"/>
            <a:satOff val="-16911"/>
            <a:lumOff val="3342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59C6764-EA8A-F449-9A47-6A89D8E65BFF}">
      <dsp:nvSpPr>
        <dsp:cNvPr id="0" name=""/>
        <dsp:cNvSpPr/>
      </dsp:nvSpPr>
      <dsp:spPr>
        <a:xfrm>
          <a:off x="5085300" y="1256166"/>
          <a:ext cx="2822497" cy="2822196"/>
        </a:xfrm>
        <a:prstGeom prst="ellipse">
          <a:avLst/>
        </a:prstGeom>
        <a:solidFill>
          <a:schemeClr val="accent2">
            <a:shade val="50000"/>
            <a:hueOff val="491947"/>
            <a:satOff val="-25367"/>
            <a:lumOff val="50136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5880" tIns="55880" rIns="55880" bIns="5588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400" b="1" kern="1200" dirty="0">
              <a:latin typeface="Century Gothic" panose="020B0502020202020204" pitchFamily="34" charset="0"/>
            </a:rPr>
            <a:t>53%</a:t>
          </a:r>
        </a:p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kern="1200" dirty="0">
              <a:latin typeface="Century Gothic" panose="020B0502020202020204" pitchFamily="34" charset="0"/>
            </a:rPr>
            <a:t>Culture </a:t>
          </a:r>
          <a:r>
            <a:rPr lang="en-GB" sz="1800" b="0" kern="1200" dirty="0" err="1">
              <a:latin typeface="Century Gothic" panose="020B0502020202020204" pitchFamily="34" charset="0"/>
            </a:rPr>
            <a:t>ou</a:t>
          </a:r>
          <a:r>
            <a:rPr lang="en-GB" sz="1800" b="0" kern="1200" dirty="0">
              <a:latin typeface="Century Gothic" panose="020B0502020202020204" pitchFamily="34" charset="0"/>
            </a:rPr>
            <a:t> manque </a:t>
          </a:r>
          <a:r>
            <a:rPr lang="en-GB" sz="1800" b="0" kern="1200" dirty="0" err="1">
              <a:latin typeface="Century Gothic" panose="020B0502020202020204" pitchFamily="34" charset="0"/>
            </a:rPr>
            <a:t>d’adhésion</a:t>
          </a:r>
          <a:r>
            <a:rPr lang="en-GB" sz="1800" b="0" kern="1200" dirty="0">
              <a:latin typeface="Century Gothic" panose="020B0502020202020204" pitchFamily="34" charset="0"/>
            </a:rPr>
            <a:t> de la haute direction</a:t>
          </a:r>
          <a:r>
            <a:rPr lang="en-GB" sz="1600" b="0" kern="1200" dirty="0">
              <a:latin typeface="Century Gothic" panose="020B0502020202020204" pitchFamily="34" charset="0"/>
            </a:rPr>
            <a:t>
</a:t>
          </a:r>
          <a:endParaRPr lang="en-US" sz="1600" b="0" kern="1200" dirty="0">
            <a:latin typeface="Century Gothic" panose="020B0502020202020204" pitchFamily="34" charset="0"/>
          </a:endParaRPr>
        </a:p>
      </dsp:txBody>
      <dsp:txXfrm>
        <a:off x="5488795" y="1659413"/>
        <a:ext cx="2015507" cy="2015703"/>
      </dsp:txXfrm>
    </dsp:sp>
    <dsp:sp modelId="{0EF14CEA-6F2A-9142-9539-B289150A278E}">
      <dsp:nvSpPr>
        <dsp:cNvPr id="0" name=""/>
        <dsp:cNvSpPr/>
      </dsp:nvSpPr>
      <dsp:spPr>
        <a:xfrm rot="2700000">
          <a:off x="1863933" y="1159010"/>
          <a:ext cx="3015979" cy="3015979"/>
        </a:xfrm>
        <a:prstGeom prst="teardrop">
          <a:avLst>
            <a:gd name="adj" fmla="val 100000"/>
          </a:avLst>
        </a:prstGeom>
        <a:solidFill>
          <a:schemeClr val="accent2">
            <a:shade val="50000"/>
            <a:hueOff val="327965"/>
            <a:satOff val="-16911"/>
            <a:lumOff val="33424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8AD0C1B-1F21-BF42-8799-2BBB1A25E467}">
      <dsp:nvSpPr>
        <dsp:cNvPr id="0" name=""/>
        <dsp:cNvSpPr/>
      </dsp:nvSpPr>
      <dsp:spPr>
        <a:xfrm>
          <a:off x="1960673" y="1256166"/>
          <a:ext cx="2822497" cy="2822196"/>
        </a:xfrm>
        <a:prstGeom prst="ellipse">
          <a:avLst/>
        </a:prstGeom>
        <a:solidFill>
          <a:schemeClr val="accent2">
            <a:shade val="50000"/>
            <a:hueOff val="163982"/>
            <a:satOff val="-8456"/>
            <a:lumOff val="1671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5880" tIns="55880" rIns="55880" bIns="5588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400" b="1" kern="1200" dirty="0">
              <a:latin typeface="Century Gothic" panose="020B0502020202020204" pitchFamily="34" charset="0"/>
            </a:rPr>
            <a:t>50%</a:t>
          </a:r>
        </a:p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kern="1200" dirty="0" err="1">
              <a:latin typeface="Century Gothic" panose="020B0502020202020204" pitchFamily="34" charset="0"/>
            </a:rPr>
            <a:t>Inconvénient</a:t>
          </a:r>
          <a:r>
            <a:rPr lang="en-GB" sz="2000" b="0" kern="1200" dirty="0">
              <a:latin typeface="Century Gothic" panose="020B0502020202020204" pitchFamily="34" charset="0"/>
            </a:rPr>
            <a:t> </a:t>
          </a:r>
          <a:r>
            <a:rPr lang="en-GB" sz="2000" b="0" kern="1200" dirty="0" err="1">
              <a:latin typeface="Century Gothic" panose="020B0502020202020204" pitchFamily="34" charset="0"/>
            </a:rPr>
            <a:t>ou</a:t>
          </a:r>
          <a:r>
            <a:rPr lang="en-GB" sz="2000" b="0" kern="1200" dirty="0">
              <a:latin typeface="Century Gothic" panose="020B0502020202020204" pitchFamily="34" charset="0"/>
            </a:rPr>
            <a:t> </a:t>
          </a:r>
          <a:r>
            <a:rPr lang="en-GB" sz="2000" b="0" kern="1200" dirty="0" err="1">
              <a:latin typeface="Century Gothic" panose="020B0502020202020204" pitchFamily="34" charset="0"/>
            </a:rPr>
            <a:t>inapproprié</a:t>
          </a:r>
          <a:endParaRPr lang="en-US" sz="2000" b="0" kern="1200" dirty="0">
            <a:latin typeface="Century Gothic" panose="020B0502020202020204" pitchFamily="34" charset="0"/>
          </a:endParaRPr>
        </a:p>
      </dsp:txBody>
      <dsp:txXfrm>
        <a:off x="2364169" y="1659413"/>
        <a:ext cx="2015507" cy="20157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18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node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18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node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fgAcc0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40AAA4-ED9B-4945-8346-4D8FD49AA1CB}" type="datetimeFigureOut">
              <a:rPr lang="en-CH" smtClean="0"/>
              <a:t>04/17/2023</a:t>
            </a:fld>
            <a:endParaRPr lang="en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207881-FA90-9B4C-B4AC-49238B2F2895}" type="slidenum">
              <a:rPr lang="en-CH" smtClean="0"/>
              <a:t>‹N°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8051595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ellright.com/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ellright.com/" TargetMode="Externa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hrexecutive.com/heres-how-employers-are-changing-benefits-due-to-covid-19/" TargetMode="External"/><Relationship Id="rId3" Type="http://schemas.openxmlformats.org/officeDocument/2006/relationships/hyperlink" Target="https://www.gallup.com/workplace/247391/fixable-problem-costs-businesses-trillion.aspx#:~:text=The%20cost%20of%20replacing%20an,to%20%242.6%20million%20per%20year." TargetMode="External"/><Relationship Id="rId7" Type="http://schemas.openxmlformats.org/officeDocument/2006/relationships/hyperlink" Target="https://www.gallup.com/workplace/236366/right-culture-not-employee-satisfaction.aspx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virginpulse.com/press/2017-state-industry-survey-results-reveal-wellbeing-key-driver-workplace-culture-employee-engagement/" TargetMode="External"/><Relationship Id="rId5" Type="http://schemas.openxmlformats.org/officeDocument/2006/relationships/hyperlink" Target="https://www.limeade.com/wp-content/uploads/2016/11/QW-LimeadeWellBeingEngagementReport-final.pdf" TargetMode="External"/><Relationship Id="rId4" Type="http://schemas.openxmlformats.org/officeDocument/2006/relationships/hyperlink" Target="https://www.mercer.us/our-thinking/healthcare/the-surprisingly-strong-connection-between-well-being-and-turnover.html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allup.com/workplace/236366/right-culture-not-employee-satisfaction.aspx" TargetMode="External"/><Relationship Id="rId3" Type="http://schemas.openxmlformats.org/officeDocument/2006/relationships/hyperlink" Target="https://www.gallup.com/workplace/247391/fixable-problem-costs-businesses-trillion.aspx#:~:text=The%20cost%20of%20replacing%20an,to%20%242.6%20million%20per%20year." TargetMode="External"/><Relationship Id="rId7" Type="http://schemas.openxmlformats.org/officeDocument/2006/relationships/hyperlink" Target="https://www.virginpulse.com/press/2017-state-industry-survey-results-reveal-wellbeing-key-driver-workplace-culture-employee-engagement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limeade.com/wp-content/uploads/2016/11/QW-LimeadeWellBeingEngagementReport-final.pdf" TargetMode="External"/><Relationship Id="rId5" Type="http://schemas.openxmlformats.org/officeDocument/2006/relationships/hyperlink" Target="https://www.mercer.us/our-thinking/healthcare/the-surprisingly-strong-connection-between-well-being-and-turnover.html" TargetMode="External"/><Relationship Id="rId4" Type="http://schemas.openxmlformats.org/officeDocument/2006/relationships/hyperlink" Target="https://www.gallup.com/workplace/247391/fixable-problem-costs-businesses-trillion.aspx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entalhealth.org.uk/statistics/mental-health-statistics-stress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kornferry.com/insights/articles/workplace-stress-motivation" TargetMode="External"/></Relationships>
</file>

<file path=ppt/notesSlides/_rels/notes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ehstoday.com/health/article/21916768/euosha-addresses-workplace-stress-in-new-eguide" TargetMode="External"/><Relationship Id="rId3" Type="http://schemas.openxmlformats.org/officeDocument/2006/relationships/hyperlink" Target="https://www.gallup.com/workplace/237059/employee-burnout-part-main-causes.aspx" TargetMode="External"/><Relationship Id="rId7" Type="http://schemas.openxmlformats.org/officeDocument/2006/relationships/hyperlink" Target="https://www.who.int/mental_health/evidence/burn-out/en/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workplaceoptions.com/blog/burnout-a-new-definition-for-a-global-issue/" TargetMode="External"/><Relationship Id="rId5" Type="http://schemas.openxmlformats.org/officeDocument/2006/relationships/hyperlink" Target="https://academic.oup.com/annweh/article/62/4/389/4956148/" TargetMode="External"/><Relationship Id="rId10" Type="http://schemas.openxmlformats.org/officeDocument/2006/relationships/hyperlink" Target="https://www.independent.co.uk/life-style/work-burnout-men-women-positions-power-self-esteem-family-balance-study-montreal-a8377096.html" TargetMode="External"/><Relationship Id="rId4" Type="http://schemas.openxmlformats.org/officeDocument/2006/relationships/hyperlink" Target="https://www.weforum.org/agenda/2019/10/burnout-mental-health-pandemic/" TargetMode="External"/><Relationship Id="rId9" Type="http://schemas.openxmlformats.org/officeDocument/2006/relationships/hyperlink" Target="https://www2.deloitte.com/us/en/pages/about-deloitte/articles/burnout-survey.html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207881-FA90-9B4C-B4AC-49238B2F2895}" type="slidenum">
              <a:rPr lang="en-CH" smtClean="0"/>
              <a:t>1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7924268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</a:t>
            </a:r>
            <a:r>
              <a:rPr lang="en-GB" dirty="0" err="1"/>
              <a:t>www.verywellmind.com</a:t>
            </a:r>
            <a:r>
              <a:rPr lang="en-GB" dirty="0"/>
              <a:t>/diet-exercise-and-sleep-are-pillars-of-mental-health-5093754</a:t>
            </a:r>
          </a:p>
          <a:p>
            <a:endParaRPr lang="en-GB" dirty="0"/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CDs (noncommunicable diseases#1 cause of death and disability worldwide, accounting for 74% of all deaths </a:t>
            </a:r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 estimated 80% of NCDs are preventable</a:t>
            </a:r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They are driven by modifiable risk factors including tobacco use, unhealthy diet, physical inactivity</a:t>
            </a: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207881-FA90-9B4C-B4AC-49238B2F2895}" type="slidenum">
              <a:rPr lang="en-CH" smtClean="0"/>
              <a:t>15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7285469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207881-FA90-9B4C-B4AC-49238B2F2895}" type="slidenum">
              <a:rPr lang="en-CH" smtClean="0"/>
              <a:t>17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9457197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207881-FA90-9B4C-B4AC-49238B2F2895}" type="slidenum">
              <a:rPr lang="en-CH" smtClean="0"/>
              <a:t>18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8378717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spcAft>
                <a:spcPts val="0"/>
              </a:spcAft>
              <a:buNone/>
            </a:pPr>
            <a:r>
              <a:rPr lang="en-GB" sz="12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ellright.com/</a:t>
            </a:r>
            <a:r>
              <a:rPr lang="en-GB" sz="1200" dirty="0"/>
              <a:t> and </a:t>
            </a:r>
            <a:r>
              <a:rPr lang="en-GB" sz="1200" dirty="0" err="1"/>
              <a:t>Virginpulse.com</a:t>
            </a:r>
            <a:endParaRPr lang="en-GB" sz="1200" dirty="0"/>
          </a:p>
          <a:p>
            <a:pPr marL="0" indent="0">
              <a:spcAft>
                <a:spcPts val="0"/>
              </a:spcAft>
              <a:buNone/>
            </a:pPr>
            <a:endParaRPr lang="en-GB" sz="1200" dirty="0"/>
          </a:p>
          <a:p>
            <a:pPr marL="0" indent="0">
              <a:spcAft>
                <a:spcPts val="0"/>
              </a:spcAft>
              <a:buNone/>
            </a:pPr>
            <a:r>
              <a:rPr lang="en-GB" sz="1200" b="1" dirty="0"/>
              <a:t>https://</a:t>
            </a:r>
            <a:r>
              <a:rPr lang="en-GB" sz="1200" b="1" dirty="0" err="1"/>
              <a:t>www.wellright.com</a:t>
            </a:r>
            <a:r>
              <a:rPr lang="en-GB" sz="1200" b="1" dirty="0"/>
              <a:t>/blog/3-keys-to-wellness-program-particip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207881-FA90-9B4C-B4AC-49238B2F2895}" type="slidenum">
              <a:rPr lang="en-CH" smtClean="0"/>
              <a:t>21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5662592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spcAft>
                <a:spcPts val="0"/>
              </a:spcAft>
              <a:buNone/>
            </a:pPr>
            <a:r>
              <a:rPr lang="en-GB" sz="12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ellright.com/</a:t>
            </a:r>
            <a:r>
              <a:rPr lang="en-GB" sz="1200" dirty="0"/>
              <a:t> and </a:t>
            </a:r>
            <a:r>
              <a:rPr lang="en-GB" sz="1200" dirty="0" err="1"/>
              <a:t>Virginpulse.com</a:t>
            </a:r>
            <a:endParaRPr lang="en-GB" sz="1200" dirty="0"/>
          </a:p>
          <a:p>
            <a:pPr marL="0" indent="0">
              <a:spcAft>
                <a:spcPts val="0"/>
              </a:spcAft>
              <a:buNone/>
            </a:pPr>
            <a:endParaRPr lang="en-GB" sz="1200" dirty="0"/>
          </a:p>
          <a:p>
            <a:pPr marL="0" indent="0">
              <a:spcAft>
                <a:spcPts val="0"/>
              </a:spcAft>
              <a:buNone/>
            </a:pPr>
            <a:r>
              <a:rPr lang="en-GB" sz="1200" b="1" dirty="0"/>
              <a:t>https://</a:t>
            </a:r>
            <a:r>
              <a:rPr lang="en-GB" sz="1200" b="1" dirty="0" err="1"/>
              <a:t>www.wellright.com</a:t>
            </a:r>
            <a:r>
              <a:rPr lang="en-GB" sz="1200" b="1" dirty="0"/>
              <a:t>/blog/3-keys-to-wellness-program-particip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207881-FA90-9B4C-B4AC-49238B2F2895}" type="slidenum">
              <a:rPr kumimoji="0" lang="en-CH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CH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8114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ll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A2DE2-C061-47A0-AF7A-15470251D2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3300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207881-FA90-9B4C-B4AC-49238B2F2895}" type="slidenum">
              <a:rPr lang="en-CH" smtClean="0"/>
              <a:t>24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9760983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207881-FA90-9B4C-B4AC-49238B2F2895}" type="slidenum">
              <a:rPr lang="en-CH" smtClean="0"/>
              <a:t>26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423411920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207881-FA90-9B4C-B4AC-49238B2F2895}" type="slidenum">
              <a:rPr lang="en-CH" smtClean="0"/>
              <a:t>27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097495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207881-FA90-9B4C-B4AC-49238B2F2895}" type="slidenum">
              <a:rPr lang="en-CH" smtClean="0"/>
              <a:t>2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41674987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/>
              <a:t>https://</a:t>
            </a:r>
            <a:r>
              <a:rPr lang="en-GB" sz="1200" dirty="0" err="1"/>
              <a:t>leftronic.com</a:t>
            </a:r>
            <a:r>
              <a:rPr lang="en-GB" sz="1200" dirty="0"/>
              <a:t>/blog/workplace-wellness-statistics/#:~:text=78%25%20of%20employers%20appreciate%20workers,wellness%20programs%20boosted%20their%20morale.</a:t>
            </a:r>
            <a:endParaRPr lang="en-CH" dirty="0">
              <a:effectLst/>
            </a:endParaRPr>
          </a:p>
          <a:p>
            <a:r>
              <a:rPr lang="en-GB" dirty="0">
                <a:hlinkClick r:id="rId3"/>
              </a:rPr>
              <a:t>https://www.gallup.com/workplace/247391/fixable-problem-costs-businesses-trillion.aspx#:~:text=The%20cost%20of%20replacing%20an,to%20%242.6%20million%20per%20year.</a:t>
            </a:r>
            <a:r>
              <a:rPr lang="en-GB" dirty="0"/>
              <a:t> There’s also an indisputable link between employee well-being and low turnover. According to Mercer’s </a:t>
            </a:r>
            <a:r>
              <a:rPr lang="en-GB" i="1" dirty="0">
                <a:hlinkClick r:id="rId4" tooltip="https://www.mercer.us/our-thinking/healthcare/the-surprisingly-strong-connection-between-well-being-and-turnover.html"/>
              </a:rPr>
              <a:t>2017 National Survey of Employer-Sponsored Health Plan</a:t>
            </a:r>
            <a:r>
              <a:rPr lang="en-GB" dirty="0"/>
              <a:t>, employers who create cultures of health see 11% lower turnover than employers who did little to prioritize employee well-being. </a:t>
            </a:r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ll-being and engagement go hand in hand. Employees with high well-being are almost </a:t>
            </a:r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 tooltip="https://www.limeade.com/wp-content/uploads/2016/11/QW-LimeadeWellBeingEngagementReport-final.pdf"/>
              </a:rPr>
              <a:t>twice as likely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to be engaged and enjoy their work.</a:t>
            </a:r>
          </a:p>
          <a:p>
            <a:r>
              <a:rPr lang="en-GB" dirty="0">
                <a:hlinkClick r:id="rId6" tooltip="https://www.virginpulse.com/press/2017-state-industry-survey-results-reveal-wellbeing-key-driver-workplace-culture-employee-engagement/"/>
              </a:rPr>
              <a:t>Virgin Pulse’s </a:t>
            </a:r>
            <a:r>
              <a:rPr lang="en-GB" i="1" dirty="0">
                <a:hlinkClick r:id="rId6" tooltip="https://www.virginpulse.com/press/2017-state-industry-survey-results-reveal-wellbeing-key-driver-workplace-culture-employee-engagement/"/>
              </a:rPr>
              <a:t>2017 State of the Industry Survey</a:t>
            </a:r>
            <a:r>
              <a:rPr lang="en-GB" dirty="0"/>
              <a:t> </a:t>
            </a:r>
          </a:p>
          <a:p>
            <a:r>
              <a:rPr lang="en-GB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 tooltip="https://www.gallup.com/workplace/236366/right-culture-not-employee-satisfaction.aspx"/>
              </a:rPr>
              <a:t>Gallup </a:t>
            </a:r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owed how the most successful organizations make employee engagement central to their business strategy. Gallup found that teams who score in the top 20% in engagement realize a 41% reduction in absenteeism, and 59% less turnover.</a:t>
            </a:r>
            <a:endParaRPr lang="en-CH" dirty="0"/>
          </a:p>
          <a:p>
            <a:r>
              <a:rPr lang="en-GB" dirty="0">
                <a:hlinkClick r:id="rId8" tooltip="https://hrexecutive.com/heres-how-employers-are-changing-benefits-due-to-covid-19/"/>
              </a:rPr>
              <a:t>45% of employers</a:t>
            </a:r>
            <a:r>
              <a:rPr lang="en-GB" dirty="0"/>
              <a:t> are broadening their existing wellbeing programs (</a:t>
            </a:r>
            <a:r>
              <a:rPr lang="en-GB" dirty="0">
                <a:hlinkClick r:id="rId8"/>
              </a:rPr>
              <a:t>https://hrexecutive.com/heres-how-employers-are-changing-benefits-due-to-covid-19/</a:t>
            </a:r>
            <a:r>
              <a:rPr lang="en-GB" dirty="0"/>
              <a:t>)</a:t>
            </a:r>
          </a:p>
          <a:p>
            <a:r>
              <a:rPr lang="en-GB" dirty="0">
                <a:hlinkClick r:id="rId8" tooltip="https://hrexecutive.com/heres-how-employers-are-changing-benefits-due-to-covid-19/"/>
              </a:rPr>
              <a:t>77%</a:t>
            </a:r>
            <a:r>
              <a:rPr lang="en-GB" dirty="0"/>
              <a:t> are expanding access to virtual mental health services.</a:t>
            </a:r>
            <a:endParaRPr lang="en-CH" dirty="0"/>
          </a:p>
          <a:p>
            <a:endParaRPr lang="en-CH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207881-FA90-9B4C-B4AC-49238B2F2895}" type="slidenum">
              <a:rPr lang="en-CH" smtClean="0"/>
              <a:t>4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3726862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 employees leverage work to gain more fulfilment, pursue their goals, and align their values and experiences more authentically, they’re looking to employers to help them manage this new work-life world.</a:t>
            </a:r>
          </a:p>
          <a:p>
            <a:endParaRPr lang="en-GB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dirty="0"/>
              <a:t>https://</a:t>
            </a:r>
            <a:r>
              <a:rPr lang="en-GB" dirty="0" err="1"/>
              <a:t>allwork.space</a:t>
            </a:r>
            <a:r>
              <a:rPr lang="en-GB" dirty="0"/>
              <a:t>/2022/01/here-are-the-top-5-workplace-wellness-trends-for-2022/</a:t>
            </a:r>
          </a:p>
          <a:p>
            <a:endParaRPr lang="en-GB" dirty="0"/>
          </a:p>
          <a:p>
            <a:r>
              <a:rPr lang="en-GB" dirty="0"/>
              <a:t>https://</a:t>
            </a:r>
            <a:r>
              <a:rPr lang="en-GB" dirty="0" err="1"/>
              <a:t>www.businessgrouphealth.org</a:t>
            </a:r>
            <a:r>
              <a:rPr lang="en-GB" dirty="0"/>
              <a:t>/</a:t>
            </a:r>
            <a:r>
              <a:rPr lang="en-GB" dirty="0" err="1"/>
              <a:t>en</a:t>
            </a:r>
            <a:r>
              <a:rPr lang="en-GB" dirty="0"/>
              <a:t>/who-we-are/newsroom/press-releases/top-health-and-well-being-trends-for-2022</a:t>
            </a: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207881-FA90-9B4C-B4AC-49238B2F2895}" type="slidenum">
              <a:rPr lang="en-CH" smtClean="0"/>
              <a:t>5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5624540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www.gallup.com/workplace/247391/fixable-problem-costs-businesses-trillion.aspx#:~:text=The%20cost%20of%20replacing%20an,to%20%242.6%20million%20per%20year.</a:t>
            </a:r>
            <a:endParaRPr lang="en-GB" dirty="0"/>
          </a:p>
          <a:p>
            <a:r>
              <a:rPr lang="en-GB" dirty="0"/>
              <a:t>According to Gallup, turnover costs U.S. employers over </a:t>
            </a:r>
            <a:r>
              <a:rPr lang="en-GB" dirty="0">
                <a:hlinkClick r:id="rId4" tooltip="https://www.gallup.com/workplace/247391/fixable-problem-costs-businesses-trillion.aspx"/>
              </a:rPr>
              <a:t>$1 Trillion a year</a:t>
            </a:r>
            <a:r>
              <a:rPr lang="en-GB" dirty="0"/>
              <a:t>. Replacing a lost employee costs between 33% and 150% of annual salary depending on skillset and seniority and impacts operations, hurts morale and makes companies less competitive as they lose experienced workers. </a:t>
            </a:r>
          </a:p>
          <a:p>
            <a:r>
              <a:rPr lang="en-GB" dirty="0"/>
              <a:t>There’s also an indisputable link between employee well-being and low turnover. According to Mercer’s </a:t>
            </a:r>
            <a:r>
              <a:rPr lang="en-GB" i="1" dirty="0">
                <a:hlinkClick r:id="rId5" tooltip="https://www.mercer.us/our-thinking/healthcare/the-surprisingly-strong-connection-between-well-being-and-turnover.html"/>
              </a:rPr>
              <a:t>2017 National Survey of Employer-Sponsored Health Plan</a:t>
            </a:r>
            <a:r>
              <a:rPr lang="en-GB" dirty="0"/>
              <a:t>, employers who create cultures of health see 11% lower turnover than employers who did little to prioritize employee well-being. </a:t>
            </a:r>
          </a:p>
          <a:p>
            <a:r>
              <a:rPr lang="en-GB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ll-being and engagement go hand in hand. Employees with high well-being are almost </a:t>
            </a:r>
            <a:r>
              <a:rPr lang="en-GB" sz="10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 tooltip="https://www.limeade.com/wp-content/uploads/2016/11/QW-LimeadeWellBeingEngagementReport-final.pdf"/>
              </a:rPr>
              <a:t>twice as likely</a:t>
            </a:r>
            <a:r>
              <a:rPr lang="en-GB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to be engaged and enjoy their work.</a:t>
            </a:r>
          </a:p>
          <a:p>
            <a:r>
              <a:rPr lang="en-GB" dirty="0">
                <a:hlinkClick r:id="rId7" tooltip="https://www.virginpulse.com/press/2017-state-industry-survey-results-reveal-wellbeing-key-driver-workplace-culture-employee-engagement/"/>
              </a:rPr>
              <a:t>Virgin Pulse’s </a:t>
            </a:r>
            <a:r>
              <a:rPr lang="en-GB" i="1" dirty="0">
                <a:hlinkClick r:id="rId7" tooltip="https://www.virginpulse.com/press/2017-state-industry-survey-results-reveal-wellbeing-key-driver-workplace-culture-employee-engagement/"/>
              </a:rPr>
              <a:t>2017 State of the Industry Survey</a:t>
            </a:r>
            <a:r>
              <a:rPr lang="en-GB" dirty="0"/>
              <a:t> </a:t>
            </a:r>
            <a:endParaRPr lang="en-GB" sz="10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ttack low engagement by taking the following steps:</a:t>
            </a:r>
          </a:p>
          <a:p>
            <a:r>
              <a:rPr lang="en-GB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ate a culture and environment of employee well-being</a:t>
            </a:r>
          </a:p>
          <a:p>
            <a:r>
              <a:rPr lang="en-GB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lp employees find pride and purpose in their jobs </a:t>
            </a:r>
          </a:p>
          <a:p>
            <a:r>
              <a:rPr lang="en-GB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cognize employees who deliver great job performance </a:t>
            </a:r>
          </a:p>
          <a:p>
            <a:r>
              <a:rPr lang="en-GB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ild on employee strengths and provide solid career paths</a:t>
            </a:r>
          </a:p>
          <a:p>
            <a:r>
              <a:rPr lang="en-GB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n boosting engagement deliver ROI? </a:t>
            </a:r>
            <a:r>
              <a:rPr lang="en-GB" sz="10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 tooltip="https://www.gallup.com/workplace/236366/right-culture-not-employee-satisfaction.aspx"/>
              </a:rPr>
              <a:t>Gallup </a:t>
            </a:r>
            <a:r>
              <a:rPr lang="en-GB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owed how the most successful organizations make employee engagement central to their business strategy. Gallup found that teams who score in the top 20% in engagement realize a 41% reduction in absenteeism, and 59% less turnover.</a:t>
            </a:r>
          </a:p>
          <a:p>
            <a:endParaRPr lang="en-GB" sz="10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dirty="0"/>
          </a:p>
          <a:p>
            <a:endParaRPr lang="en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5B4B25-75A1-4BD3-9A55-1C94DE87B243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18444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</a:t>
            </a:r>
            <a:r>
              <a:rPr lang="en-GB" dirty="0" err="1"/>
              <a:t>www.who.int</a:t>
            </a:r>
            <a:r>
              <a:rPr lang="en-GB" dirty="0"/>
              <a:t>/teams/mental-health-and-substance-use/promotion-prevention/mental-health-in-the-workplace</a:t>
            </a:r>
          </a:p>
          <a:p>
            <a:endParaRPr lang="en-GB" dirty="0"/>
          </a:p>
          <a:p>
            <a:r>
              <a:rPr lang="en-GB" dirty="0"/>
              <a:t>WHO GUIDELINES MENTAL HEALTH AT WORK: https://</a:t>
            </a:r>
            <a:r>
              <a:rPr lang="en-GB" dirty="0" err="1"/>
              <a:t>www.who.int</a:t>
            </a:r>
            <a:r>
              <a:rPr lang="en-GB" dirty="0"/>
              <a:t>/publications/</a:t>
            </a:r>
            <a:r>
              <a:rPr lang="en-GB" dirty="0" err="1"/>
              <a:t>i</a:t>
            </a:r>
            <a:r>
              <a:rPr lang="en-GB" dirty="0"/>
              <a:t>/item/9789240053052</a:t>
            </a:r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 err="1">
                <a:latin typeface="+mj-lt"/>
              </a:rPr>
              <a:t>Accès</a:t>
            </a:r>
            <a:r>
              <a:rPr lang="en-GB" sz="1200" dirty="0">
                <a:latin typeface="+mj-lt"/>
              </a:rPr>
              <a:t> </a:t>
            </a:r>
            <a:r>
              <a:rPr lang="en-GB" sz="1200" dirty="0" err="1">
                <a:latin typeface="+mj-lt"/>
              </a:rPr>
              <a:t>à</a:t>
            </a:r>
            <a:r>
              <a:rPr lang="en-GB" sz="1200" dirty="0">
                <a:latin typeface="+mj-lt"/>
              </a:rPr>
              <a:t> la </a:t>
            </a:r>
            <a:r>
              <a:rPr lang="en-GB" sz="1200" dirty="0" err="1">
                <a:latin typeface="+mj-lt"/>
              </a:rPr>
              <a:t>santé</a:t>
            </a:r>
            <a:r>
              <a:rPr lang="en-GB" sz="1200" dirty="0">
                <a:latin typeface="+mj-lt"/>
              </a:rPr>
              <a:t> </a:t>
            </a:r>
            <a:r>
              <a:rPr lang="en-GB" sz="1200" dirty="0" err="1">
                <a:latin typeface="+mj-lt"/>
              </a:rPr>
              <a:t>mentale</a:t>
            </a:r>
            <a:r>
              <a:rPr lang="en-GB" sz="1200" dirty="0">
                <a:latin typeface="+mj-lt"/>
              </a:rPr>
              <a:t> et au bien-</a:t>
            </a:r>
            <a:r>
              <a:rPr lang="en-GB" sz="1200" dirty="0" err="1">
                <a:latin typeface="+mj-lt"/>
              </a:rPr>
              <a:t>être</a:t>
            </a:r>
            <a:r>
              <a:rPr lang="en-GB" sz="1200" dirty="0">
                <a:latin typeface="+mj-lt"/>
              </a:rPr>
              <a:t> </a:t>
            </a:r>
            <a:r>
              <a:rPr lang="en-GB" sz="1200" dirty="0" err="1">
                <a:latin typeface="+mj-lt"/>
              </a:rPr>
              <a:t>émotionnel</a:t>
            </a:r>
            <a:r>
              <a:rPr lang="en-GB" sz="1200" dirty="0">
                <a:latin typeface="+mj-lt"/>
              </a:rPr>
              <a:t> grâce </a:t>
            </a:r>
            <a:r>
              <a:rPr lang="en-GB" sz="1200" dirty="0" err="1">
                <a:latin typeface="+mj-lt"/>
              </a:rPr>
              <a:t>à</a:t>
            </a:r>
            <a:r>
              <a:rPr lang="en-GB" sz="1200" dirty="0">
                <a:latin typeface="+mj-lt"/>
              </a:rPr>
              <a:t> des </a:t>
            </a:r>
            <a:r>
              <a:rPr lang="en-GB" sz="1200" dirty="0" err="1">
                <a:latin typeface="+mj-lt"/>
              </a:rPr>
              <a:t>ressources</a:t>
            </a:r>
            <a:r>
              <a:rPr lang="en-GB" sz="1200" dirty="0">
                <a:latin typeface="+mj-lt"/>
              </a:rPr>
              <a:t> </a:t>
            </a:r>
            <a:r>
              <a:rPr lang="en-GB" sz="1200" dirty="0" err="1">
                <a:latin typeface="+mj-lt"/>
              </a:rPr>
              <a:t>en</a:t>
            </a:r>
            <a:r>
              <a:rPr lang="en-GB" sz="1200" dirty="0">
                <a:latin typeface="+mj-lt"/>
              </a:rPr>
              <a:t> </a:t>
            </a:r>
            <a:r>
              <a:rPr lang="en-GB" sz="1200" dirty="0" err="1">
                <a:latin typeface="+mj-lt"/>
              </a:rPr>
              <a:t>ligne</a:t>
            </a:r>
            <a:endParaRPr lang="en-GB" sz="1200" dirty="0">
              <a:latin typeface="+mj-lt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207881-FA90-9B4C-B4AC-49238B2F2895}" type="slidenum">
              <a:rPr lang="en-CH" smtClean="0"/>
              <a:t>9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5529046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rId3"/>
              </a:rPr>
              <a:t>https://www.mentalhealth.org.uk/statistics/mental-health-statistics-stress</a:t>
            </a:r>
            <a:endParaRPr lang="en-GB" dirty="0"/>
          </a:p>
          <a:p>
            <a:r>
              <a:rPr lang="en-GB" dirty="0">
                <a:hlinkClick r:id="rId4"/>
              </a:rPr>
              <a:t>https://www.kornferry.com/insights/articles/workplace-stress-motivation</a:t>
            </a:r>
            <a:endParaRPr lang="en-GB" dirty="0"/>
          </a:p>
          <a:p>
            <a:endParaRPr lang="en-GB" dirty="0"/>
          </a:p>
          <a:p>
            <a:r>
              <a:rPr lang="en-GB" dirty="0"/>
              <a:t>https://</a:t>
            </a:r>
            <a:r>
              <a:rPr lang="en-GB" dirty="0" err="1"/>
              <a:t>www.bbc.com</a:t>
            </a:r>
            <a:r>
              <a:rPr lang="en-GB" dirty="0"/>
              <a:t>/</a:t>
            </a:r>
            <a:r>
              <a:rPr lang="en-GB" dirty="0" err="1"/>
              <a:t>worklife</a:t>
            </a:r>
            <a:r>
              <a:rPr lang="en-GB" dirty="0"/>
              <a:t>/article/20210928-why-women-are-more-burned-out-than-men#:~:text=Recent%20data%20looking%20specifically%20at,61%25%20of%20employed%20male%20respondents.</a:t>
            </a:r>
          </a:p>
          <a:p>
            <a:endParaRPr lang="en-GB" dirty="0"/>
          </a:p>
          <a:p>
            <a:r>
              <a:rPr lang="en-GB" b="0" i="0" dirty="0">
                <a:solidFill>
                  <a:srgbClr val="444444"/>
                </a:solidFill>
                <a:effectLst/>
                <a:latin typeface="ReithSans"/>
              </a:rPr>
              <a:t>Experts generally agree that there’s no single reason women burn out, but they widely acknowledge that the way societal structures and gender norms intersect plays a significant role. Workplace inequalities, for example, are inextricably linked to traditional gender roles. </a:t>
            </a:r>
            <a:endParaRPr lang="en-CH" dirty="0"/>
          </a:p>
          <a:p>
            <a:endParaRPr lang="en-CH" dirty="0"/>
          </a:p>
          <a:p>
            <a:r>
              <a:rPr lang="en-GB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pandemic has shown us just how important it is to support not only physical health but also mental health</a:t>
            </a:r>
            <a:endParaRPr lang="en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5B4B25-75A1-4BD3-9A55-1C94DE87B243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88130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0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Employee Burnout, Part 1: The 5 Main Causes</a:t>
            </a:r>
            <a:endParaRPr lang="en-GB" sz="10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GB" dirty="0">
                <a:hlinkClick r:id="rId4"/>
              </a:rPr>
              <a:t>https://www.weforum.org/agenda/2019/10/burnout-mental-health-pandemic/</a:t>
            </a:r>
            <a:endParaRPr lang="en-GB" sz="10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hlinkClick r:id="rId5"/>
              </a:rPr>
              <a:t>Women are more likely to experience burnout</a:t>
            </a:r>
            <a:r>
              <a:rPr lang="en-GB" dirty="0"/>
              <a:t> </a:t>
            </a:r>
            <a:endParaRPr lang="en-GB" sz="10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hlinkClick r:id="rId6"/>
              </a:rPr>
              <a:t>https://www.workplaceoptions.com/blog/burnout-a-new-definition-for-a-global-issue/</a:t>
            </a:r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hlinkClick r:id="rId7"/>
              </a:rPr>
              <a:t>Burn-out an “occupational phenomenon”: International Classification of Diseases</a:t>
            </a:r>
            <a:r>
              <a:rPr lang="en-GB" dirty="0"/>
              <a:t> : WHO – May 201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hlinkClick r:id="rId8"/>
              </a:rPr>
              <a:t>https://www.ehstoday.com/health/article/21916768/euosha-addresses-workplace-stress-in-new-eguide</a:t>
            </a:r>
            <a:r>
              <a:rPr lang="en-GB" dirty="0"/>
              <a:t>)</a:t>
            </a:r>
          </a:p>
          <a:p>
            <a:pPr marL="0" indent="0">
              <a:buNone/>
            </a:pPr>
            <a:r>
              <a:rPr lang="en-GB" dirty="0">
                <a:hlinkClick r:id="rId9"/>
              </a:rPr>
              <a:t>A Deloitte study on workplace health</a:t>
            </a:r>
            <a:r>
              <a:rPr lang="en-GB" dirty="0"/>
              <a:t> in the US suggests that 84% of millennials have experienced burnout in their current job</a:t>
            </a:r>
          </a:p>
          <a:p>
            <a:pPr marL="0" indent="0">
              <a:buNone/>
            </a:pPr>
            <a:r>
              <a:rPr lang="en-GB" dirty="0">
                <a:hlinkClick r:id="rId10"/>
              </a:rPr>
              <a:t>Women are more likely to suffer from the disease than their male counterparts</a:t>
            </a:r>
            <a:r>
              <a:rPr lang="en-GB" dirty="0"/>
              <a:t>.</a:t>
            </a:r>
          </a:p>
          <a:p>
            <a:pPr marL="0" indent="0">
              <a:buNone/>
            </a:pPr>
            <a:r>
              <a:rPr lang="en-GB" dirty="0"/>
              <a:t>In 2019, WHO added burnout to </a:t>
            </a:r>
            <a:r>
              <a:rPr lang="en-GB" dirty="0">
                <a:hlinkClick r:id="rId7"/>
              </a:rPr>
              <a:t>list of globally recognized diseases</a:t>
            </a:r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  <a:p>
            <a:endParaRPr lang="en-CH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5B4B25-75A1-4BD3-9A55-1C94DE87B243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70214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207881-FA90-9B4C-B4AC-49238B2F2895}" type="slidenum">
              <a:rPr lang="en-CH" smtClean="0"/>
              <a:t>14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1808757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97596-88CF-B742-8B89-2C8829504C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1015595-4961-0442-A759-6D1BF08103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78A452-66BE-864C-8BEC-DAF8F46F74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86328-495A-C142-8B62-F79BD2AD3BA9}" type="datetimeFigureOut">
              <a:rPr lang="en-CH" smtClean="0"/>
              <a:t>04/17/2023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676740-1500-7542-BECA-E143CFE169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CC4419-01CB-914C-A174-FAA19850A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05C82-4587-2E49-A778-8010EE2A041D}" type="slidenum">
              <a:rPr lang="en-CH" smtClean="0"/>
              <a:t>‹N°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773111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34C3A1-CFAB-1B40-97C3-AF170A0894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A2F72E-AC87-5547-9E5E-1D2198513D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0C1A01-978E-BB47-BB5C-E1B6E3277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86328-495A-C142-8B62-F79BD2AD3BA9}" type="datetimeFigureOut">
              <a:rPr lang="en-CH" smtClean="0"/>
              <a:t>04/17/2023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CE3D49-5177-6A46-A597-A2A8C0AF2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BE6ABF-5BEE-0449-BEB0-27D924058C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05C82-4587-2E49-A778-8010EE2A041D}" type="slidenum">
              <a:rPr lang="en-CH" smtClean="0"/>
              <a:t>‹N°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45975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07661C0-6085-C840-BAEB-098769A92D5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1D6563-2E98-A840-BC15-F8A6404B07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5EA23A-F3DB-0D49-8E12-03B7A2E376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86328-495A-C142-8B62-F79BD2AD3BA9}" type="datetimeFigureOut">
              <a:rPr lang="en-CH" smtClean="0"/>
              <a:t>04/17/2023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A8FB32-1D51-C04F-BDB6-3BB6986934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A8EE2C-BB72-3644-9504-6AE1AC0F4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05C82-4587-2E49-A778-8010EE2A041D}" type="slidenum">
              <a:rPr lang="en-CH" smtClean="0"/>
              <a:t>‹N°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5841434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rrow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10D6D93-A3B5-4832-BA7D-69733F5B5D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85775" y="476250"/>
            <a:ext cx="6418850" cy="5508625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5334204-0BEA-4046-825E-03F24E80E4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784942" cy="6858000"/>
          </a:xfrm>
          <a:prstGeom prst="homePlate">
            <a:avLst>
              <a:gd name="adj" fmla="val 21028"/>
            </a:avLst>
          </a:prstGeom>
          <a:solidFill>
            <a:schemeClr val="accent1"/>
          </a:solidFill>
        </p:spPr>
        <p:txBody>
          <a:bodyPr lIns="576000" rIns="360000" bIns="0" anchor="ctr" anchorCtr="0"/>
          <a:lstStyle>
            <a:lvl1pPr marL="0" indent="0">
              <a:buNone/>
              <a:defRPr sz="2600">
                <a:latin typeface="+mj-lt"/>
              </a:defRPr>
            </a:lvl1pPr>
            <a:lvl2pPr marL="144000">
              <a:defRPr sz="2600"/>
            </a:lvl2pPr>
            <a:lvl3pPr marL="288000">
              <a:defRPr sz="2600"/>
            </a:lvl3pPr>
            <a:lvl4pPr marL="432000">
              <a:defRPr sz="2600"/>
            </a:lvl4pPr>
            <a:lvl5pPr marL="432000">
              <a:defRPr sz="2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219543-B4AB-43B3-A7D6-A19751E760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756330-65B9-4925-ABBA-39677788BF4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7366BA-1B0C-42E0-B0A0-9E02DD27662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911457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00" y="442800"/>
            <a:ext cx="3265127" cy="1927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F222A53-616C-45FF-8232-5920DA84973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40238" y="442799"/>
            <a:ext cx="7152915" cy="5542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3BD820C8-63AF-4DD5-A4EF-348F6970D9F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2865437"/>
            <a:ext cx="4140000" cy="3119438"/>
          </a:xfrm>
          <a:solidFill>
            <a:schemeClr val="accent1"/>
          </a:solidFill>
        </p:spPr>
        <p:txBody>
          <a:bodyPr lIns="612000" tIns="684000" rIns="360000"/>
          <a:lstStyle>
            <a:lvl1pPr marL="0" indent="0">
              <a:buFontTx/>
              <a:buNone/>
              <a:defRPr sz="2400" i="1">
                <a:latin typeface="+mn-lt"/>
                <a:cs typeface="Arial" panose="020B0604020202020204" pitchFamily="34" charset="0"/>
              </a:defRPr>
            </a:lvl1pPr>
            <a:lvl2pPr marL="144000" indent="0">
              <a:buFontTx/>
              <a:buNone/>
              <a:defRPr i="1"/>
            </a:lvl2pPr>
            <a:lvl3pPr marL="288000" indent="0">
              <a:buFontTx/>
              <a:buNone/>
              <a:defRPr i="1"/>
            </a:lvl3pPr>
            <a:lvl4pPr marL="432000" indent="0">
              <a:buFontTx/>
              <a:buNone/>
              <a:defRPr i="1"/>
            </a:lvl4pPr>
            <a:lvl5pPr marL="432000" indent="0">
              <a:buFontTx/>
              <a:buNone/>
              <a:defRPr i="1"/>
            </a:lvl5pPr>
          </a:lstStyle>
          <a:p>
            <a:pPr lvl="0"/>
            <a:r>
              <a:rPr lang="en-US" dirty="0"/>
              <a:t>Insert quo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2634F49-3DEB-46B0-B38F-D87DB997FCE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648" y="3160442"/>
            <a:ext cx="277200" cy="2412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361135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8A41D2-5203-D640-85D9-59C4ABFBE3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25A626-1F90-1E48-89CD-26323868F5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1FA7A-5638-5243-A804-05DC7C93D9C1}" type="datetime4">
              <a:rPr lang="en-GB" smtClean="0"/>
              <a:t>17 April 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F289EA-0A47-C647-AA92-C004A3B8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19DC424-CB15-AE4A-AA9F-4379EA2D82F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89628" y="1485902"/>
            <a:ext cx="11013410" cy="4714874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41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rrow 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89B1A30-7C69-1A43-A36E-2B9C4EDEA1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71" y="0"/>
            <a:ext cx="1219347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98A41D2-5203-D640-85D9-59C4ABFBE3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25A626-1F90-1E48-89CD-26323868F5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DA9014-D41A-FF45-9B81-517814B24538}" type="datetime4">
              <a:rPr lang="en-GB" smtClean="0"/>
              <a:t>17 April 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F289EA-0A47-C647-AA92-C004A3B8E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8776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736DBB3-3952-4D25-B9B5-2C6DE196D9F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FEB2F16-D4E9-40BB-A0AC-4B1E2772E6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3275" y="3322800"/>
            <a:ext cx="5127999" cy="639763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lace and author</a:t>
            </a:r>
            <a:endParaRPr lang="da-DK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33CAC7-1D84-4BCE-8560-3FC15C1E32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3275" y="1198469"/>
            <a:ext cx="7524750" cy="1824430"/>
          </a:xfrm>
        </p:spPr>
        <p:txBody>
          <a:bodyPr/>
          <a:lstStyle>
            <a:lvl1pPr marL="0" indent="0">
              <a:lnSpc>
                <a:spcPct val="87000"/>
              </a:lnSpc>
              <a:spcBef>
                <a:spcPts val="0"/>
              </a:spcBef>
              <a:buFontTx/>
              <a:buNone/>
              <a:defRPr sz="63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</a:t>
            </a:r>
            <a:endParaRPr lang="da-DK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712C6CE-7CE0-4844-84F9-6DB15E6DB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250" y="6214430"/>
            <a:ext cx="1324800" cy="27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363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736DBB3-3952-4D25-B9B5-2C6DE196D9F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FEB2F16-D4E9-40BB-A0AC-4B1E2772E6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2800" y="3322800"/>
            <a:ext cx="5113338" cy="639763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lace and author</a:t>
            </a:r>
            <a:endParaRPr lang="da-DK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33CAC7-1D84-4BCE-8560-3FC15C1E32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800" y="1198469"/>
            <a:ext cx="7503236" cy="1824430"/>
          </a:xfrm>
        </p:spPr>
        <p:txBody>
          <a:bodyPr/>
          <a:lstStyle>
            <a:lvl1pPr marL="0" indent="0">
              <a:lnSpc>
                <a:spcPct val="87000"/>
              </a:lnSpc>
              <a:spcBef>
                <a:spcPts val="0"/>
              </a:spcBef>
              <a:buFontTx/>
              <a:buNone/>
              <a:defRPr sz="63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</a:t>
            </a:r>
            <a:endParaRPr lang="da-DK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712C6CE-7CE0-4844-84F9-6DB15E6DB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250" y="6214430"/>
            <a:ext cx="1324800" cy="27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5073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736DBB3-3952-4D25-B9B5-2C6DE196D9F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FEB2F16-D4E9-40BB-A0AC-4B1E2772E6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2800" y="3322800"/>
            <a:ext cx="5113338" cy="639763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 and author</a:t>
            </a:r>
            <a:endParaRPr lang="da-DK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33CAC7-1D84-4BCE-8560-3FC15C1E32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800" y="1198469"/>
            <a:ext cx="7503236" cy="1824430"/>
          </a:xfrm>
        </p:spPr>
        <p:txBody>
          <a:bodyPr/>
          <a:lstStyle>
            <a:lvl1pPr marL="0" indent="0">
              <a:lnSpc>
                <a:spcPct val="87000"/>
              </a:lnSpc>
              <a:spcBef>
                <a:spcPts val="0"/>
              </a:spcBef>
              <a:buFontTx/>
              <a:buNone/>
              <a:defRPr sz="63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</a:t>
            </a:r>
            <a:endParaRPr lang="da-DK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712C6CE-7CE0-4844-84F9-6DB15E6DB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82252" y="6214430"/>
            <a:ext cx="1324795" cy="27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2526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855AD95-068C-4C56-8A55-08FB2DED60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tIns="144000" bIns="792000" anchor="t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FEB2F16-D4E9-40BB-A0AC-4B1E2772E6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2800" y="3009600"/>
            <a:ext cx="5113338" cy="639763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lace and author</a:t>
            </a:r>
            <a:endParaRPr lang="da-DK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33CAC7-1D84-4BCE-8560-3FC15C1E32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800" y="1191600"/>
            <a:ext cx="7524750" cy="1523465"/>
          </a:xfrm>
        </p:spPr>
        <p:txBody>
          <a:bodyPr/>
          <a:lstStyle>
            <a:lvl1pPr marL="0" indent="0">
              <a:lnSpc>
                <a:spcPct val="87000"/>
              </a:lnSpc>
              <a:spcBef>
                <a:spcPts val="0"/>
              </a:spcBef>
              <a:buFontTx/>
              <a:buNone/>
              <a:defRPr sz="55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</a:t>
            </a:r>
            <a:endParaRPr lang="da-DK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F9C1CBB-582B-4EEB-A58D-7C7F3C91DC2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10382247" y="6213288"/>
            <a:ext cx="1324800" cy="2772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200">
                <a:solidFill>
                  <a:schemeClr val="bg2"/>
                </a:solidFill>
              </a:defRPr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842387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4023E2-135B-E548-AF86-89916B4B0F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3D9C14-8142-714F-8DA8-34F75242D4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231449-1DA5-E148-B416-FC1877E8AE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86328-495A-C142-8B62-F79BD2AD3BA9}" type="datetimeFigureOut">
              <a:rPr lang="en-CH" smtClean="0"/>
              <a:t>04/17/2023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C65B12-95BC-6143-A3D8-44721DCB5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A246FA-60DA-A54F-A3F6-F7686118BD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05C82-4587-2E49-A778-8010EE2A041D}" type="slidenum">
              <a:rPr lang="en-CH" smtClean="0"/>
              <a:t>‹N°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9598847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DB0612-4348-4AE9-8123-03B594A9F0EA}"/>
              </a:ext>
            </a:extLst>
          </p:cNvPr>
          <p:cNvSpPr/>
          <p:nvPr userDrawn="1"/>
        </p:nvSpPr>
        <p:spPr>
          <a:xfrm>
            <a:off x="9639300" y="6115050"/>
            <a:ext cx="2428875" cy="533400"/>
          </a:xfrm>
          <a:prstGeom prst="rect">
            <a:avLst/>
          </a:prstGeom>
          <a:solidFill>
            <a:schemeClr val="bg1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C18D393-CCAE-4E80-9661-AB114F2144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12800"/>
            <a:ext cx="12191999" cy="5207730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FEB2F16-D4E9-40BB-A0AC-4B1E2772E6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2800" y="3369600"/>
            <a:ext cx="5113338" cy="639763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lace and author</a:t>
            </a:r>
            <a:endParaRPr lang="da-DK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33CAC7-1D84-4BCE-8560-3FC15C1E32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800" y="1592263"/>
            <a:ext cx="6223000" cy="1641065"/>
          </a:xfrm>
        </p:spPr>
        <p:txBody>
          <a:bodyPr/>
          <a:lstStyle>
            <a:lvl1pPr marL="0" indent="0">
              <a:lnSpc>
                <a:spcPct val="87000"/>
              </a:lnSpc>
              <a:spcBef>
                <a:spcPts val="0"/>
              </a:spcBef>
              <a:buFontTx/>
              <a:buNone/>
              <a:defRPr sz="55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</a:t>
            </a:r>
            <a:endParaRPr lang="da-DK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73A3F7D-A877-48A9-9025-701B617411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250" y="6214430"/>
            <a:ext cx="1324800" cy="27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4986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DB0612-4348-4AE9-8123-03B594A9F0EA}"/>
              </a:ext>
            </a:extLst>
          </p:cNvPr>
          <p:cNvSpPr/>
          <p:nvPr userDrawn="1"/>
        </p:nvSpPr>
        <p:spPr>
          <a:xfrm>
            <a:off x="9639300" y="6115050"/>
            <a:ext cx="2428875" cy="533400"/>
          </a:xfrm>
          <a:prstGeom prst="rect">
            <a:avLst/>
          </a:prstGeom>
          <a:solidFill>
            <a:schemeClr val="bg1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C18D393-CCAE-4E80-9661-AB114F2144BB}"/>
              </a:ext>
            </a:extLst>
          </p:cNvPr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12800"/>
            <a:ext cx="12193200" cy="5207730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FEB2F16-D4E9-40BB-A0AC-4B1E2772E6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2800" y="3369600"/>
            <a:ext cx="5113338" cy="639763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lace and author</a:t>
            </a:r>
            <a:endParaRPr lang="da-DK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33CAC7-1D84-4BCE-8560-3FC15C1E32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800" y="1592263"/>
            <a:ext cx="6223000" cy="1641065"/>
          </a:xfrm>
        </p:spPr>
        <p:txBody>
          <a:bodyPr/>
          <a:lstStyle>
            <a:lvl1pPr marL="0" indent="0">
              <a:lnSpc>
                <a:spcPct val="87000"/>
              </a:lnSpc>
              <a:spcBef>
                <a:spcPts val="0"/>
              </a:spcBef>
              <a:buFontTx/>
              <a:buNone/>
              <a:defRPr sz="550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</a:t>
            </a:r>
            <a:endParaRPr lang="da-DK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D305E37-E4E7-4C03-BC5A-A3A2454FB4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250" y="6214430"/>
            <a:ext cx="1324800" cy="27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1701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ront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DB0612-4348-4AE9-8123-03B594A9F0EA}"/>
              </a:ext>
            </a:extLst>
          </p:cNvPr>
          <p:cNvSpPr/>
          <p:nvPr userDrawn="1"/>
        </p:nvSpPr>
        <p:spPr>
          <a:xfrm>
            <a:off x="9639300" y="6115050"/>
            <a:ext cx="2428875" cy="533400"/>
          </a:xfrm>
          <a:prstGeom prst="rect">
            <a:avLst/>
          </a:prstGeom>
          <a:solidFill>
            <a:schemeClr val="bg1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C18D393-CCAE-4E80-9661-AB114F2144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12800"/>
            <a:ext cx="12192000" cy="5207730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FEB2F16-D4E9-40BB-A0AC-4B1E2772E6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2800" y="3369600"/>
            <a:ext cx="5113338" cy="639763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lace and author</a:t>
            </a:r>
            <a:endParaRPr lang="da-DK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33CAC7-1D84-4BCE-8560-3FC15C1E32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800" y="1592263"/>
            <a:ext cx="6223000" cy="1641065"/>
          </a:xfrm>
        </p:spPr>
        <p:txBody>
          <a:bodyPr/>
          <a:lstStyle>
            <a:lvl1pPr marL="0" indent="0">
              <a:lnSpc>
                <a:spcPct val="87000"/>
              </a:lnSpc>
              <a:spcBef>
                <a:spcPts val="0"/>
              </a:spcBef>
              <a:buFontTx/>
              <a:buNone/>
              <a:defRPr sz="55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</a:t>
            </a:r>
            <a:endParaRPr lang="da-DK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34B8A6-0D1C-4918-B12A-EF6E9E8FD71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250" y="6214430"/>
            <a:ext cx="1324800" cy="27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4131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4DB0612-4348-4AE9-8123-03B594A9F0EA}"/>
              </a:ext>
            </a:extLst>
          </p:cNvPr>
          <p:cNvSpPr/>
          <p:nvPr userDrawn="1"/>
        </p:nvSpPr>
        <p:spPr>
          <a:xfrm>
            <a:off x="9639300" y="6115050"/>
            <a:ext cx="2428875" cy="533400"/>
          </a:xfrm>
          <a:prstGeom prst="rect">
            <a:avLst/>
          </a:prstGeom>
          <a:solidFill>
            <a:schemeClr val="bg1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C18D393-CCAE-4E80-9661-AB114F2144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12800"/>
            <a:ext cx="12191999" cy="5207730"/>
          </a:xfrm>
          <a:prstGeom prst="rect">
            <a:avLst/>
          </a:prstGeom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FEB2F16-D4E9-40BB-A0AC-4B1E2772E6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2800" y="3369600"/>
            <a:ext cx="5113338" cy="639763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lace and author</a:t>
            </a:r>
            <a:endParaRPr lang="da-DK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33CAC7-1D84-4BCE-8560-3FC15C1E32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800" y="1592263"/>
            <a:ext cx="6223000" cy="1641065"/>
          </a:xfrm>
        </p:spPr>
        <p:txBody>
          <a:bodyPr/>
          <a:lstStyle>
            <a:lvl1pPr marL="0" indent="0">
              <a:lnSpc>
                <a:spcPct val="87000"/>
              </a:lnSpc>
              <a:spcBef>
                <a:spcPts val="0"/>
              </a:spcBef>
              <a:buFontTx/>
              <a:buNone/>
              <a:defRPr sz="55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</a:t>
            </a:r>
            <a:endParaRPr lang="da-DK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11A6AD9-3DB1-49C3-AC27-05BF38EF97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250" y="6214430"/>
            <a:ext cx="1324800" cy="27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1657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35FF79A-89D9-41CF-AFB8-CB414783EB71}"/>
              </a:ext>
            </a:extLst>
          </p:cNvPr>
          <p:cNvSpPr/>
          <p:nvPr userDrawn="1"/>
        </p:nvSpPr>
        <p:spPr>
          <a:xfrm>
            <a:off x="-1" y="1455615"/>
            <a:ext cx="9109057" cy="4284000"/>
          </a:xfrm>
          <a:prstGeom prst="rect">
            <a:avLst/>
          </a:prstGeom>
          <a:solidFill>
            <a:schemeClr val="accent1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6D830EE9-B841-4545-B527-53F58A5E0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1226" y="4591403"/>
            <a:ext cx="5113338" cy="639763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latin typeface="+mn-lt"/>
              </a:defRPr>
            </a:lvl1pPr>
          </a:lstStyle>
          <a:p>
            <a:pPr lvl="0"/>
            <a:r>
              <a:rPr lang="en-US" dirty="0"/>
              <a:t>Place and author</a:t>
            </a:r>
            <a:endParaRPr lang="da-DK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E0F5D92-2E9A-4542-A735-D952EEA37A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1226" y="2285755"/>
            <a:ext cx="4897438" cy="1847850"/>
          </a:xfrm>
        </p:spPr>
        <p:txBody>
          <a:bodyPr/>
          <a:lstStyle>
            <a:lvl1pPr marL="0" indent="0">
              <a:lnSpc>
                <a:spcPct val="87000"/>
              </a:lnSpc>
              <a:spcBef>
                <a:spcPts val="0"/>
              </a:spcBef>
              <a:buFontTx/>
              <a:buNone/>
              <a:defRPr sz="5000"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</a:t>
            </a:r>
            <a:endParaRPr lang="da-DK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1C388DB-F457-4D86-8A01-8AE166DAE4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5838" y="712788"/>
            <a:ext cx="5538787" cy="3692525"/>
          </a:xfrm>
          <a:solidFill>
            <a:srgbClr val="E2E3E3"/>
          </a:solidFill>
        </p:spPr>
        <p:txBody>
          <a:bodyPr bIns="792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B7E650C-9F97-4CE8-9CD1-E3872DA999B9}"/>
              </a:ext>
            </a:extLst>
          </p:cNvPr>
          <p:cNvSpPr/>
          <p:nvPr userDrawn="1"/>
        </p:nvSpPr>
        <p:spPr>
          <a:xfrm>
            <a:off x="9801922" y="5988204"/>
            <a:ext cx="2390078" cy="869795"/>
          </a:xfrm>
          <a:prstGeom prst="rect">
            <a:avLst/>
          </a:prstGeom>
          <a:solidFill>
            <a:schemeClr val="bg1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700" dirty="0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5006D78-E604-4040-BD2B-4364E4AD04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250" y="6214430"/>
            <a:ext cx="1324800" cy="27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3754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with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61BECE-F580-4C00-AA31-676DFFA38C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676275"/>
            <a:ext cx="9337675" cy="452755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1C388DB-F457-4D86-8A01-8AE166DAE4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5838" y="2215661"/>
            <a:ext cx="5538787" cy="3692525"/>
          </a:xfrm>
          <a:solidFill>
            <a:srgbClr val="E2E3E3"/>
          </a:solidFill>
        </p:spPr>
        <p:txBody>
          <a:bodyPr bIns="792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6D830EE9-B841-4545-B527-53F58A5E08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11226" y="3675078"/>
            <a:ext cx="5113338" cy="639763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latin typeface="+mn-lt"/>
              </a:defRPr>
            </a:lvl1pPr>
          </a:lstStyle>
          <a:p>
            <a:pPr lvl="0"/>
            <a:r>
              <a:rPr lang="en-US" dirty="0"/>
              <a:t>Place and author</a:t>
            </a:r>
            <a:endParaRPr lang="da-DK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E0F5D92-2E9A-4542-A735-D952EEA37A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1226" y="1369430"/>
            <a:ext cx="4897438" cy="1847850"/>
          </a:xfrm>
        </p:spPr>
        <p:txBody>
          <a:bodyPr/>
          <a:lstStyle>
            <a:lvl1pPr marL="0" indent="0">
              <a:lnSpc>
                <a:spcPct val="87000"/>
              </a:lnSpc>
              <a:spcBef>
                <a:spcPts val="0"/>
              </a:spcBef>
              <a:buFontTx/>
              <a:buNone/>
              <a:defRPr sz="5000"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</a:t>
            </a:r>
            <a:endParaRPr lang="da-DK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B7E650C-9F97-4CE8-9CD1-E3872DA999B9}"/>
              </a:ext>
            </a:extLst>
          </p:cNvPr>
          <p:cNvSpPr/>
          <p:nvPr userDrawn="1"/>
        </p:nvSpPr>
        <p:spPr>
          <a:xfrm>
            <a:off x="9801922" y="5988204"/>
            <a:ext cx="2390078" cy="869795"/>
          </a:xfrm>
          <a:prstGeom prst="rect">
            <a:avLst/>
          </a:prstGeom>
          <a:solidFill>
            <a:schemeClr val="bg1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700" dirty="0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5006D78-E604-4040-BD2B-4364E4AD04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250" y="6214430"/>
            <a:ext cx="1324800" cy="276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1172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92D4958-4131-4814-8AFE-E7A58ABF601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" y="2790825"/>
            <a:ext cx="4067175" cy="4067175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tIns="684000"/>
          <a:lstStyle>
            <a:lvl1pPr marL="0" indent="0" algn="ctr">
              <a:buNone/>
              <a:defRPr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picture</a:t>
            </a:r>
            <a:endParaRPr lang="da-DK" dirty="0"/>
          </a:p>
          <a:p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A51A03-EAF5-45E3-8F0B-E08F65E584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6DAABD-644C-4BFE-B72D-997CAFD1FE9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FCAD76-EF22-4FB3-9239-A50F052B341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133CAC7-1D84-4BCE-8560-3FC15C1E32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8848" y="874800"/>
            <a:ext cx="3265127" cy="1847850"/>
          </a:xfrm>
        </p:spPr>
        <p:txBody>
          <a:bodyPr/>
          <a:lstStyle>
            <a:lvl1pPr marL="0" indent="0">
              <a:lnSpc>
                <a:spcPct val="87000"/>
              </a:lnSpc>
              <a:spcBef>
                <a:spcPts val="0"/>
              </a:spcBef>
              <a:buFontTx/>
              <a:buNone/>
              <a:defRPr sz="6000"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title</a:t>
            </a:r>
            <a:endParaRPr lang="da-DK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50DAE0-EC9A-4174-80B0-2E927C3EF1C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40237" y="874800"/>
            <a:ext cx="7164387" cy="5110075"/>
          </a:xfrm>
        </p:spPr>
        <p:txBody>
          <a:bodyPr tIns="108000" bIns="0" numCol="2" spcCol="648000"/>
          <a:lstStyle>
            <a:lvl1pPr marL="342900" indent="-342900">
              <a:spcBef>
                <a:spcPts val="1800"/>
              </a:spcBef>
              <a:buFont typeface="+mj-lt"/>
              <a:buAutoNum type="arabicPeriod"/>
              <a:defRPr sz="2400"/>
            </a:lvl1pPr>
            <a:lvl2pPr marL="504000" indent="-144000">
              <a:spcBef>
                <a:spcPts val="600"/>
              </a:spcBef>
              <a:buFont typeface="Arial" panose="020B0604020202020204" pitchFamily="34" charset="0"/>
              <a:buChar char="•"/>
              <a:defRPr/>
            </a:lvl2pPr>
            <a:lvl3pPr marL="504000">
              <a:spcBef>
                <a:spcPts val="1800"/>
              </a:spcBef>
              <a:defRPr/>
            </a:lvl3pPr>
            <a:lvl4pPr marL="504000">
              <a:spcBef>
                <a:spcPts val="1800"/>
              </a:spcBef>
              <a:defRPr/>
            </a:lvl4pPr>
            <a:lvl5pPr marL="504000">
              <a:spcBef>
                <a:spcPts val="18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2086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A51A03-EAF5-45E3-8F0B-E08F65E584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6DAABD-644C-4BFE-B72D-997CAFD1FE9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FCAD76-EF22-4FB3-9239-A50F052B341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  <a:endParaRPr lang="da-DK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050DAE0-EC9A-4174-80B0-2E927C3EF1C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8848" y="2059659"/>
            <a:ext cx="3265127" cy="3925215"/>
          </a:xfrm>
        </p:spPr>
        <p:txBody>
          <a:bodyPr tIns="108000" bIns="0" numCol="1" spcCol="0"/>
          <a:lstStyle>
            <a:lvl1pPr marL="342900" indent="-342900">
              <a:spcBef>
                <a:spcPts val="1800"/>
              </a:spcBef>
              <a:buFont typeface="+mj-lt"/>
              <a:buAutoNum type="arabicPeriod"/>
              <a:defRPr sz="2400"/>
            </a:lvl1pPr>
            <a:lvl2pPr marL="504000" indent="-144000">
              <a:spcBef>
                <a:spcPts val="600"/>
              </a:spcBef>
              <a:buFont typeface="Arial" panose="020B0604020202020204" pitchFamily="34" charset="0"/>
              <a:buChar char="•"/>
              <a:defRPr/>
            </a:lvl2pPr>
            <a:lvl3pPr marL="504000">
              <a:spcBef>
                <a:spcPts val="1800"/>
              </a:spcBef>
              <a:defRPr/>
            </a:lvl3pPr>
            <a:lvl4pPr marL="504000">
              <a:spcBef>
                <a:spcPts val="1800"/>
              </a:spcBef>
              <a:defRPr/>
            </a:lvl4pPr>
            <a:lvl5pPr marL="504000">
              <a:spcBef>
                <a:spcPts val="18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B92216D4-2A39-4E8B-906D-F5453522D76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440238" y="873125"/>
            <a:ext cx="7751762" cy="5111749"/>
          </a:xfrm>
          <a:solidFill>
            <a:srgbClr val="E2E3E3"/>
          </a:solidFill>
        </p:spPr>
        <p:txBody>
          <a:bodyPr bIns="792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A03061F-9684-4711-8ACD-577A935386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8848" y="873125"/>
            <a:ext cx="3265127" cy="875972"/>
          </a:xfrm>
        </p:spPr>
        <p:txBody>
          <a:bodyPr/>
          <a:lstStyle>
            <a:lvl1pPr marL="0" indent="0">
              <a:lnSpc>
                <a:spcPct val="87000"/>
              </a:lnSpc>
              <a:spcBef>
                <a:spcPts val="0"/>
              </a:spcBef>
              <a:buFontTx/>
              <a:buNone/>
              <a:defRPr sz="6000"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39669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4" y="442800"/>
            <a:ext cx="11017249" cy="999941"/>
          </a:xfrm>
        </p:spPr>
        <p:txBody>
          <a:bodyPr/>
          <a:lstStyle>
            <a:lvl1pPr>
              <a:lnSpc>
                <a:spcPct val="95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3420EA-7002-4F4F-87A2-D990214BF3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7374" y="1592263"/>
            <a:ext cx="11017251" cy="439261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90C57C2-50C0-4FAD-948C-D31C226DD752}"/>
              </a:ext>
            </a:extLst>
          </p:cNvPr>
          <p:cNvCxnSpPr/>
          <p:nvPr userDrawn="1"/>
        </p:nvCxnSpPr>
        <p:spPr>
          <a:xfrm>
            <a:off x="587375" y="1441556"/>
            <a:ext cx="11017250" cy="0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738907E-7C9F-4F0A-BE82-778C6C4470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4" y="5984875"/>
            <a:ext cx="11017250" cy="180000"/>
          </a:xfrm>
        </p:spPr>
        <p:txBody>
          <a:bodyPr anchor="b" anchorCtr="0"/>
          <a:lstStyle>
            <a:lvl1pPr marL="0" indent="0" rtl="0">
              <a:spcBef>
                <a:spcPts val="0"/>
              </a:spcBef>
              <a:buNone/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BB3B71A1-F41C-4790-A71E-E4F787805E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98848" y="6295436"/>
            <a:ext cx="324000" cy="252000"/>
          </a:xfrm>
        </p:spPr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04BE3E8B-C41F-4AF3-AEAD-F63A2E0C0ACD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56138" y="6295436"/>
            <a:ext cx="1152525" cy="252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2B765CE1-F64A-476E-BE7B-C98928F4599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22848" y="6295436"/>
            <a:ext cx="3076949" cy="252000"/>
          </a:xfrm>
        </p:spPr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826165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41326"/>
            <a:ext cx="11017250" cy="9742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3420EA-7002-4F4F-87A2-D990214BF3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7374" y="1592263"/>
            <a:ext cx="5221285" cy="439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F222A53-616C-45FF-8232-5920DA84973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83338" y="1592263"/>
            <a:ext cx="5220000" cy="43925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6A6D4E5-1E1D-424F-B6EC-655689DF8EA2}"/>
              </a:ext>
            </a:extLst>
          </p:cNvPr>
          <p:cNvCxnSpPr/>
          <p:nvPr userDrawn="1"/>
        </p:nvCxnSpPr>
        <p:spPr>
          <a:xfrm>
            <a:off x="6095998" y="1592263"/>
            <a:ext cx="0" cy="4392000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42356A7-2292-47A6-98BE-03991CBF29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4" y="5984875"/>
            <a:ext cx="11017250" cy="180000"/>
          </a:xfrm>
        </p:spPr>
        <p:txBody>
          <a:bodyPr anchor="b" anchorCtr="0"/>
          <a:lstStyle>
            <a:lvl1pPr marL="0" indent="0" rtl="0">
              <a:spcBef>
                <a:spcPts val="0"/>
              </a:spcBef>
              <a:buNone/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34372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D35DE7-A462-5644-9317-D209644A9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DC7C3E-F3F7-0C4F-B999-87D86114A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564074-BC8B-7844-8F50-AA83EDDA1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86328-495A-C142-8B62-F79BD2AD3BA9}" type="datetimeFigureOut">
              <a:rPr lang="en-CH" smtClean="0"/>
              <a:t>04/17/2023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DF6A18-D5DB-544E-9316-03F77AE3A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C40B91-BDFA-304C-911E-2440EDB4F7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05C82-4587-2E49-A778-8010EE2A041D}" type="slidenum">
              <a:rPr lang="en-CH" smtClean="0"/>
              <a:t>‹N°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6979761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42800"/>
            <a:ext cx="11017250" cy="9727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3420EA-7002-4F4F-87A2-D990214BF3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7375" y="1592263"/>
            <a:ext cx="3276600" cy="43925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F222A53-616C-45FF-8232-5920DA84973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58000" y="1592263"/>
            <a:ext cx="3276000" cy="43925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5752182-24D3-47BE-885A-23C0F67A79D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328025" y="1592263"/>
            <a:ext cx="3276000" cy="43925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6021C94-6C4E-4759-88DA-D1D8FAF9BED9}"/>
              </a:ext>
            </a:extLst>
          </p:cNvPr>
          <p:cNvCxnSpPr/>
          <p:nvPr userDrawn="1"/>
        </p:nvCxnSpPr>
        <p:spPr>
          <a:xfrm>
            <a:off x="4160987" y="1592263"/>
            <a:ext cx="0" cy="4392000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B4DA0E3-CA3B-4F93-9C99-62269D9B4828}"/>
              </a:ext>
            </a:extLst>
          </p:cNvPr>
          <p:cNvCxnSpPr/>
          <p:nvPr userDrawn="1"/>
        </p:nvCxnSpPr>
        <p:spPr>
          <a:xfrm>
            <a:off x="8031012" y="1592263"/>
            <a:ext cx="0" cy="4392000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49F7980-2DB6-4F75-A993-C70A56BE8D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374" y="5984875"/>
            <a:ext cx="11017250" cy="180000"/>
          </a:xfrm>
        </p:spPr>
        <p:txBody>
          <a:bodyPr anchor="b" anchorCtr="0"/>
          <a:lstStyle>
            <a:lvl1pPr marL="0" indent="0" rtl="0">
              <a:spcBef>
                <a:spcPts val="0"/>
              </a:spcBef>
              <a:buNone/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41194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d in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4" y="442800"/>
            <a:ext cx="11015959" cy="9727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  <a:endParaRPr lang="da-D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3420EA-7002-4F4F-87A2-D990214BF3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7375" y="1592263"/>
            <a:ext cx="5221288" cy="19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F222A53-616C-45FF-8232-5920DA84973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83338" y="1592263"/>
            <a:ext cx="5220000" cy="19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2F481436-65A6-4713-8863-42828DEDB69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87375" y="4004774"/>
            <a:ext cx="5220000" cy="19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377E983A-C97C-411D-8163-5A2E07C745A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83337" y="4004772"/>
            <a:ext cx="5220000" cy="198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5578342-7CE9-4011-9D81-3F5794FA0B4E}"/>
              </a:ext>
            </a:extLst>
          </p:cNvPr>
          <p:cNvCxnSpPr/>
          <p:nvPr userDrawn="1"/>
        </p:nvCxnSpPr>
        <p:spPr>
          <a:xfrm>
            <a:off x="6095998" y="1592263"/>
            <a:ext cx="0" cy="4392000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ED89160-B258-4072-B459-F85ABA1E91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7374" y="5984875"/>
            <a:ext cx="11017250" cy="180000"/>
          </a:xfrm>
        </p:spPr>
        <p:txBody>
          <a:bodyPr anchor="b" anchorCtr="0"/>
          <a:lstStyle>
            <a:lvl1pPr marL="0" indent="0" rtl="0">
              <a:spcBef>
                <a:spcPts val="0"/>
              </a:spcBef>
              <a:buNone/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90740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42800"/>
            <a:ext cx="3276000" cy="9727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3420EA-7002-4F4F-87A2-D990214BF3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7376" y="1592263"/>
            <a:ext cx="3276000" cy="439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F222A53-616C-45FF-8232-5920DA84973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40238" y="442800"/>
            <a:ext cx="7164386" cy="5542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3334FF7-231B-49C6-9CC6-8F40732246BD}"/>
              </a:ext>
            </a:extLst>
          </p:cNvPr>
          <p:cNvCxnSpPr>
            <a:cxnSpLocks/>
          </p:cNvCxnSpPr>
          <p:nvPr userDrawn="1"/>
        </p:nvCxnSpPr>
        <p:spPr>
          <a:xfrm>
            <a:off x="4151807" y="441325"/>
            <a:ext cx="0" cy="5543550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743AA56-0873-4921-AA6F-D11A936DB7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4" y="5984875"/>
            <a:ext cx="11017250" cy="180000"/>
          </a:xfrm>
        </p:spPr>
        <p:txBody>
          <a:bodyPr anchor="b" anchorCtr="0"/>
          <a:lstStyle>
            <a:lvl1pPr marL="0" indent="0" rtl="0">
              <a:spcBef>
                <a:spcPts val="0"/>
              </a:spcBef>
              <a:buNone/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25753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vy slid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3420EA-7002-4F4F-87A2-D990214BF3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7374" y="896399"/>
            <a:ext cx="11017251" cy="508847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7" name="Pladsholder til diasnummer 5">
            <a:extLst>
              <a:ext uri="{FF2B5EF4-FFF2-40B4-BE49-F238E27FC236}">
                <a16:creationId xmlns:a16="http://schemas.microsoft.com/office/drawing/2014/main" id="{5D3675F4-92F7-40D9-9F9D-68034FA2AC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8848" y="6295436"/>
            <a:ext cx="324000" cy="25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900" b="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1A045FA4-5A45-4E31-A476-4DBB7AA39F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56138" y="6295436"/>
            <a:ext cx="1152525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30">
            <a:extLst>
              <a:ext uri="{FF2B5EF4-FFF2-40B4-BE49-F238E27FC236}">
                <a16:creationId xmlns:a16="http://schemas.microsoft.com/office/drawing/2014/main" id="{D3997C1D-DE6C-4A33-8517-49EBD2ACC6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22848" y="6295436"/>
            <a:ext cx="3076949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 cap="all" baseline="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53B336B-3D62-4A48-8F82-7D810EC99E5E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solidFill>
            <a:schemeClr val="bg2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1"/>
            <a:ext cx="11017250" cy="719999"/>
          </a:xfrm>
        </p:spPr>
        <p:txBody>
          <a:bodyPr anchor="ctr" anchorCtr="0"/>
          <a:lstStyle>
            <a:lvl1pPr>
              <a:lnSpc>
                <a:spcPct val="95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Only</a:t>
            </a:r>
            <a:r>
              <a:rPr lang="da-DK" dirty="0"/>
              <a:t> for content heavy slid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0C538FF-0B06-4A89-8ED2-6E4D981655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7374" y="5984875"/>
            <a:ext cx="11017250" cy="180000"/>
          </a:xfrm>
        </p:spPr>
        <p:txBody>
          <a:bodyPr anchor="b" anchorCtr="0"/>
          <a:lstStyle>
            <a:lvl1pPr marL="0" indent="0" rtl="0">
              <a:spcBef>
                <a:spcPts val="0"/>
              </a:spcBef>
              <a:buNone/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62514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vy slid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5BD2FED2-52C0-454E-930C-0748B05FABA1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solidFill>
            <a:schemeClr val="bg2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3420EA-7002-4F4F-87A2-D990214BF3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7374" y="896399"/>
            <a:ext cx="5221289" cy="508847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7" name="Pladsholder til diasnummer 5">
            <a:extLst>
              <a:ext uri="{FF2B5EF4-FFF2-40B4-BE49-F238E27FC236}">
                <a16:creationId xmlns:a16="http://schemas.microsoft.com/office/drawing/2014/main" id="{5D3675F4-92F7-40D9-9F9D-68034FA2AC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8848" y="6295436"/>
            <a:ext cx="324000" cy="25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900" b="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1A045FA4-5A45-4E31-A476-4DBB7AA39F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56138" y="6295436"/>
            <a:ext cx="1152525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30">
            <a:extLst>
              <a:ext uri="{FF2B5EF4-FFF2-40B4-BE49-F238E27FC236}">
                <a16:creationId xmlns:a16="http://schemas.microsoft.com/office/drawing/2014/main" id="{D3997C1D-DE6C-4A33-8517-49EBD2ACC6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22848" y="6295436"/>
            <a:ext cx="3076949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 cap="all" baseline="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1"/>
            <a:ext cx="11017250" cy="719999"/>
          </a:xfrm>
        </p:spPr>
        <p:txBody>
          <a:bodyPr anchor="ctr" anchorCtr="0"/>
          <a:lstStyle>
            <a:lvl1pPr>
              <a:lnSpc>
                <a:spcPct val="95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Only</a:t>
            </a:r>
            <a:r>
              <a:rPr lang="da-DK" dirty="0"/>
              <a:t> for content heavy slides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9C15196-54CD-492A-9D77-CA97A9B4F9C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83336" y="896399"/>
            <a:ext cx="5221289" cy="508847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B32C1B6-345D-47DF-ADC7-1FCEB59AD2D2}"/>
              </a:ext>
            </a:extLst>
          </p:cNvPr>
          <p:cNvCxnSpPr>
            <a:cxnSpLocks/>
          </p:cNvCxnSpPr>
          <p:nvPr userDrawn="1"/>
        </p:nvCxnSpPr>
        <p:spPr>
          <a:xfrm>
            <a:off x="6095998" y="896399"/>
            <a:ext cx="0" cy="5088476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07B685C-5A9C-4A2A-A6C6-E46ADFEFA3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4" y="5984875"/>
            <a:ext cx="11017250" cy="180000"/>
          </a:xfrm>
        </p:spPr>
        <p:txBody>
          <a:bodyPr anchor="b" anchorCtr="0"/>
          <a:lstStyle>
            <a:lvl1pPr marL="0" indent="0" rtl="0">
              <a:spcBef>
                <a:spcPts val="0"/>
              </a:spcBef>
              <a:buNone/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4263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vy slide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3420EA-7002-4F4F-87A2-D990214BF3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7374" y="896400"/>
            <a:ext cx="3276000" cy="508847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7" name="Pladsholder til diasnummer 5">
            <a:extLst>
              <a:ext uri="{FF2B5EF4-FFF2-40B4-BE49-F238E27FC236}">
                <a16:creationId xmlns:a16="http://schemas.microsoft.com/office/drawing/2014/main" id="{5D3675F4-92F7-40D9-9F9D-68034FA2AC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8848" y="6295436"/>
            <a:ext cx="324000" cy="25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900" b="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1A045FA4-5A45-4E31-A476-4DBB7AA39F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56138" y="6295436"/>
            <a:ext cx="1152525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30">
            <a:extLst>
              <a:ext uri="{FF2B5EF4-FFF2-40B4-BE49-F238E27FC236}">
                <a16:creationId xmlns:a16="http://schemas.microsoft.com/office/drawing/2014/main" id="{D3997C1D-DE6C-4A33-8517-49EBD2ACC6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22848" y="6295436"/>
            <a:ext cx="3076949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 cap="all" baseline="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53B336B-3D62-4A48-8F82-7D810EC99E5E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solidFill>
            <a:schemeClr val="bg2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1"/>
            <a:ext cx="11017250" cy="719999"/>
          </a:xfrm>
        </p:spPr>
        <p:txBody>
          <a:bodyPr anchor="ctr" anchorCtr="0"/>
          <a:lstStyle>
            <a:lvl1pPr>
              <a:lnSpc>
                <a:spcPct val="95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Only</a:t>
            </a:r>
            <a:r>
              <a:rPr lang="da-DK" dirty="0"/>
              <a:t> for content heavy slides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9C15196-54CD-492A-9D77-CA97A9B4F9C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57700" y="896400"/>
            <a:ext cx="3276000" cy="508847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B32C1B6-345D-47DF-ADC7-1FCEB59AD2D2}"/>
              </a:ext>
            </a:extLst>
          </p:cNvPr>
          <p:cNvCxnSpPr>
            <a:cxnSpLocks/>
          </p:cNvCxnSpPr>
          <p:nvPr userDrawn="1"/>
        </p:nvCxnSpPr>
        <p:spPr>
          <a:xfrm>
            <a:off x="4160537" y="896400"/>
            <a:ext cx="0" cy="5088476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EDFA6A00-CC43-449D-A9CB-51F8F100E68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328025" y="896400"/>
            <a:ext cx="3276000" cy="508847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CEF8B95-98F7-4F31-AED2-F0541DF9B7B0}"/>
              </a:ext>
            </a:extLst>
          </p:cNvPr>
          <p:cNvCxnSpPr>
            <a:cxnSpLocks/>
          </p:cNvCxnSpPr>
          <p:nvPr userDrawn="1"/>
        </p:nvCxnSpPr>
        <p:spPr>
          <a:xfrm>
            <a:off x="8030863" y="896400"/>
            <a:ext cx="0" cy="5088476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33362A-20F2-4FEE-A9ED-5765BDEE2C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7374" y="5984875"/>
            <a:ext cx="11017250" cy="180000"/>
          </a:xfrm>
        </p:spPr>
        <p:txBody>
          <a:bodyPr anchor="b" anchorCtr="0"/>
          <a:lstStyle>
            <a:lvl1pPr marL="0" indent="0" rtl="0">
              <a:spcBef>
                <a:spcPts val="0"/>
              </a:spcBef>
              <a:buNone/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27004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heavy slide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3420EA-7002-4F4F-87A2-D990214BF3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7374" y="896400"/>
            <a:ext cx="5221289" cy="2340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7" name="Pladsholder til diasnummer 5">
            <a:extLst>
              <a:ext uri="{FF2B5EF4-FFF2-40B4-BE49-F238E27FC236}">
                <a16:creationId xmlns:a16="http://schemas.microsoft.com/office/drawing/2014/main" id="{5D3675F4-92F7-40D9-9F9D-68034FA2AC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98848" y="6295436"/>
            <a:ext cx="324000" cy="25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900" b="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1A045FA4-5A45-4E31-A476-4DBB7AA39F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56138" y="6295436"/>
            <a:ext cx="1152525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30">
            <a:extLst>
              <a:ext uri="{FF2B5EF4-FFF2-40B4-BE49-F238E27FC236}">
                <a16:creationId xmlns:a16="http://schemas.microsoft.com/office/drawing/2014/main" id="{D3997C1D-DE6C-4A33-8517-49EBD2ACC6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22848" y="6295436"/>
            <a:ext cx="3076949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 cap="all" baseline="0">
                <a:solidFill>
                  <a:schemeClr val="tx2">
                    <a:lumMod val="10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53B336B-3D62-4A48-8F82-7D810EC99E5E}"/>
              </a:ext>
            </a:extLst>
          </p:cNvPr>
          <p:cNvSpPr/>
          <p:nvPr userDrawn="1"/>
        </p:nvSpPr>
        <p:spPr>
          <a:xfrm>
            <a:off x="0" y="0"/>
            <a:ext cx="12192000" cy="720000"/>
          </a:xfrm>
          <a:prstGeom prst="rect">
            <a:avLst/>
          </a:prstGeom>
          <a:solidFill>
            <a:schemeClr val="bg2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600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1"/>
            <a:ext cx="11017250" cy="719999"/>
          </a:xfrm>
        </p:spPr>
        <p:txBody>
          <a:bodyPr anchor="ctr" anchorCtr="0"/>
          <a:lstStyle>
            <a:lvl1pPr>
              <a:lnSpc>
                <a:spcPct val="95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Only</a:t>
            </a:r>
            <a:r>
              <a:rPr lang="da-DK" dirty="0"/>
              <a:t> for content heavy slides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19C15196-54CD-492A-9D77-CA97A9B4F9C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83336" y="896400"/>
            <a:ext cx="5221289" cy="2340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B32C1B6-345D-47DF-ADC7-1FCEB59AD2D2}"/>
              </a:ext>
            </a:extLst>
          </p:cNvPr>
          <p:cNvCxnSpPr>
            <a:cxnSpLocks/>
          </p:cNvCxnSpPr>
          <p:nvPr userDrawn="1"/>
        </p:nvCxnSpPr>
        <p:spPr>
          <a:xfrm>
            <a:off x="6095998" y="896399"/>
            <a:ext cx="0" cy="5088476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E7E43C56-E4C6-4ED8-B125-52209863237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87374" y="3644875"/>
            <a:ext cx="5221289" cy="2340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12C9F6E0-994A-416D-90C9-8B261A1A364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83336" y="3644875"/>
            <a:ext cx="5221289" cy="234000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954DC92-1B37-4661-AD08-F09EF2EE2CF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7374" y="5984875"/>
            <a:ext cx="5220000" cy="180000"/>
          </a:xfrm>
        </p:spPr>
        <p:txBody>
          <a:bodyPr anchor="b" anchorCtr="0"/>
          <a:lstStyle>
            <a:lvl1pPr marL="0" indent="0" rtl="0">
              <a:spcBef>
                <a:spcPts val="0"/>
              </a:spcBef>
              <a:buNone/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A08BEEB-53B1-45BE-8F40-B6200679AC9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96099" y="5984875"/>
            <a:ext cx="5220000" cy="180000"/>
          </a:xfrm>
        </p:spPr>
        <p:txBody>
          <a:bodyPr anchor="b" anchorCtr="0"/>
          <a:lstStyle>
            <a:lvl1pPr marL="0" indent="0" rtl="0">
              <a:spcBef>
                <a:spcPts val="0"/>
              </a:spcBef>
              <a:buNone/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784DCB5-D413-473D-9633-F1F73416761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7374" y="3249000"/>
            <a:ext cx="5220000" cy="180000"/>
          </a:xfrm>
        </p:spPr>
        <p:txBody>
          <a:bodyPr anchor="b" anchorCtr="0"/>
          <a:lstStyle>
            <a:lvl1pPr marL="0" indent="0" rtl="0">
              <a:spcBef>
                <a:spcPts val="0"/>
              </a:spcBef>
              <a:buNone/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73705E7A-95F3-458D-86C0-B4BFF3EA2C7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96099" y="3249000"/>
            <a:ext cx="5220000" cy="180000"/>
          </a:xfrm>
        </p:spPr>
        <p:txBody>
          <a:bodyPr anchor="b" anchorCtr="0"/>
          <a:lstStyle>
            <a:lvl1pPr marL="0" indent="0" rtl="0">
              <a:spcBef>
                <a:spcPts val="0"/>
              </a:spcBef>
              <a:buNone/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3983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d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42800"/>
            <a:ext cx="7164000" cy="9727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3420EA-7002-4F4F-87A2-D990214BF3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7373" y="1592263"/>
            <a:ext cx="7164000" cy="439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F6FD0475-3E45-470D-AEE6-B1E29AE2FE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28025" y="0"/>
            <a:ext cx="3863975" cy="6858000"/>
          </a:xfrm>
          <a:solidFill>
            <a:schemeClr val="accent1"/>
          </a:solidFill>
        </p:spPr>
        <p:txBody>
          <a:bodyPr lIns="324000" rIns="324000" bIns="576000" anchor="ctr" anchorCtr="0"/>
          <a:lstStyle>
            <a:lvl1pPr marL="0" indent="0" algn="ctr">
              <a:lnSpc>
                <a:spcPct val="100000"/>
              </a:lnSpc>
              <a:buFontTx/>
              <a:buNone/>
              <a:defRPr sz="2600" b="0" i="0">
                <a:latin typeface="+mj-lt"/>
              </a:defRPr>
            </a:lvl1pPr>
            <a:lvl2pPr marL="144000" indent="0">
              <a:buFontTx/>
              <a:buNone/>
              <a:defRPr/>
            </a:lvl2pPr>
            <a:lvl3pPr marL="288000" indent="0">
              <a:buFontTx/>
              <a:buNone/>
              <a:defRPr/>
            </a:lvl3pPr>
            <a:lvl4pPr marL="432000" indent="0">
              <a:buFontTx/>
              <a:buNone/>
              <a:defRPr/>
            </a:lvl4pPr>
            <a:lvl5pPr marL="432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Mastertext</a:t>
            </a:r>
            <a:r>
              <a:rPr lang="en-US" dirty="0"/>
              <a:t>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C7ACC68-438B-423B-BA05-76239D87AA5E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0746682" y="6298208"/>
            <a:ext cx="929081" cy="1944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200">
                <a:solidFill>
                  <a:schemeClr val="bg2"/>
                </a:solidFill>
              </a:defRPr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036664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d to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42800"/>
            <a:ext cx="7164000" cy="9727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3420EA-7002-4F4F-87A2-D990214BF3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7373" y="1592263"/>
            <a:ext cx="3276602" cy="439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F6FD0475-3E45-470D-AEE6-B1E29AE2FE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28025" y="0"/>
            <a:ext cx="3863975" cy="6858000"/>
          </a:xfrm>
          <a:solidFill>
            <a:schemeClr val="accent1"/>
          </a:solidFill>
        </p:spPr>
        <p:txBody>
          <a:bodyPr lIns="324000" rIns="324000" bIns="576000" anchor="ctr" anchorCtr="0"/>
          <a:lstStyle>
            <a:lvl1pPr marL="0" indent="0" algn="ctr">
              <a:lnSpc>
                <a:spcPct val="100000"/>
              </a:lnSpc>
              <a:buFontTx/>
              <a:buNone/>
              <a:defRPr sz="2600" b="0" i="0">
                <a:latin typeface="+mj-lt"/>
              </a:defRPr>
            </a:lvl1pPr>
            <a:lvl2pPr marL="144000" indent="0">
              <a:buFontTx/>
              <a:buNone/>
              <a:defRPr/>
            </a:lvl2pPr>
            <a:lvl3pPr marL="288000" indent="0">
              <a:buFontTx/>
              <a:buNone/>
              <a:defRPr/>
            </a:lvl3pPr>
            <a:lvl4pPr marL="432000" indent="0">
              <a:buFontTx/>
              <a:buNone/>
              <a:defRPr/>
            </a:lvl4pPr>
            <a:lvl5pPr marL="432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Mastertext</a:t>
            </a:r>
            <a:r>
              <a:rPr lang="en-US" dirty="0"/>
              <a:t> styles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C3197D2B-1056-498F-BFB0-25C5937C825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57999" y="1592263"/>
            <a:ext cx="3276000" cy="43925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4707E0D-A1F0-4E4A-A2DA-1750FF8F6265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0746682" y="6298208"/>
            <a:ext cx="929081" cy="1944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200">
                <a:solidFill>
                  <a:schemeClr val="bg2"/>
                </a:solidFill>
              </a:defRPr>
            </a:lvl1pPr>
          </a:lstStyle>
          <a:p>
            <a:pPr lvl="0"/>
            <a:endParaRPr lang="da-DK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648DC91-EF5E-4553-9BA8-03B67858F32E}"/>
              </a:ext>
            </a:extLst>
          </p:cNvPr>
          <p:cNvCxnSpPr/>
          <p:nvPr userDrawn="1"/>
        </p:nvCxnSpPr>
        <p:spPr>
          <a:xfrm>
            <a:off x="4160987" y="1592263"/>
            <a:ext cx="0" cy="4392000"/>
          </a:xfrm>
          <a:prstGeom prst="line">
            <a:avLst/>
          </a:prstGeom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36688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d to righ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42800"/>
            <a:ext cx="7164000" cy="9727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3420EA-7002-4F4F-87A2-D990214BF3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7373" y="1592263"/>
            <a:ext cx="7164000" cy="439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F6FD0475-3E45-470D-AEE6-B1E29AE2FE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28025" y="0"/>
            <a:ext cx="3863975" cy="6858000"/>
          </a:xfrm>
          <a:solidFill>
            <a:schemeClr val="tx2"/>
          </a:solidFill>
        </p:spPr>
        <p:txBody>
          <a:bodyPr lIns="324000" rIns="324000" bIns="576000" anchor="ctr" anchorCtr="0"/>
          <a:lstStyle>
            <a:lvl1pPr marL="0" indent="0" algn="ctr">
              <a:lnSpc>
                <a:spcPct val="100000"/>
              </a:lnSpc>
              <a:buFontTx/>
              <a:buNone/>
              <a:defRPr sz="2600" b="0" i="0">
                <a:solidFill>
                  <a:schemeClr val="bg1"/>
                </a:solidFill>
                <a:latin typeface="+mj-lt"/>
              </a:defRPr>
            </a:lvl1pPr>
            <a:lvl2pPr marL="144000" indent="0">
              <a:buFontTx/>
              <a:buNone/>
              <a:defRPr/>
            </a:lvl2pPr>
            <a:lvl3pPr marL="288000" indent="0">
              <a:buFontTx/>
              <a:buNone/>
              <a:defRPr/>
            </a:lvl3pPr>
            <a:lvl4pPr marL="432000" indent="0">
              <a:buFontTx/>
              <a:buNone/>
              <a:defRPr/>
            </a:lvl4pPr>
            <a:lvl5pPr marL="432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Mastertext</a:t>
            </a:r>
            <a:r>
              <a:rPr lang="en-US" dirty="0"/>
              <a:t>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40F43-1D4F-4BF4-9196-B9304DC602ED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0746682" y="6298208"/>
            <a:ext cx="929081" cy="1944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200">
                <a:solidFill>
                  <a:schemeClr val="bg2"/>
                </a:solidFill>
              </a:defRPr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48206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204F1A-4AF4-784D-9C97-34F26EA9A6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FEC1AE-10C0-584E-AB7B-2ED20D08D4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FE8235E-86EC-E84A-B4D7-E1C97519E0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BED455-6CCA-1B4A-8EA1-53BBE6F3B9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86328-495A-C142-8B62-F79BD2AD3BA9}" type="datetimeFigureOut">
              <a:rPr lang="en-CH" smtClean="0"/>
              <a:t>04/17/2023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358134-301D-C340-A499-3FE8FD8F8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FC7C90-6A3B-4543-9C53-0DF0AE8BE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05C82-4587-2E49-A778-8010EE2A041D}" type="slidenum">
              <a:rPr lang="en-CH" smtClean="0"/>
              <a:t>‹N°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79190832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d 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F6FD0475-3E45-470D-AEE6-B1E29AE2FE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3863975" cy="6858000"/>
          </a:xfrm>
          <a:solidFill>
            <a:schemeClr val="accent1"/>
          </a:solidFill>
        </p:spPr>
        <p:txBody>
          <a:bodyPr lIns="324000" rIns="324000" bIns="576000" anchor="ctr" anchorCtr="0"/>
          <a:lstStyle>
            <a:lvl1pPr marL="0" indent="0" algn="ctr">
              <a:lnSpc>
                <a:spcPct val="100000"/>
              </a:lnSpc>
              <a:buFontTx/>
              <a:buNone/>
              <a:defRPr sz="2600" b="0" i="0">
                <a:latin typeface="+mj-lt"/>
              </a:defRPr>
            </a:lvl1pPr>
            <a:lvl2pPr marL="144000" indent="0">
              <a:buFontTx/>
              <a:buNone/>
              <a:defRPr/>
            </a:lvl2pPr>
            <a:lvl3pPr marL="288000" indent="0">
              <a:buFontTx/>
              <a:buNone/>
              <a:defRPr/>
            </a:lvl3pPr>
            <a:lvl4pPr marL="432000" indent="0">
              <a:buFontTx/>
              <a:buNone/>
              <a:defRPr/>
            </a:lvl4pPr>
            <a:lvl5pPr marL="432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Mastertext</a:t>
            </a:r>
            <a:r>
              <a:rPr lang="en-US" dirty="0"/>
              <a:t>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0627" y="442800"/>
            <a:ext cx="7164000" cy="9727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3420EA-7002-4F4F-87A2-D990214BF3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40625" y="1592263"/>
            <a:ext cx="7164000" cy="439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036715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d to left and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FFEB0D19-40FF-418F-AC18-CD6A0B777A1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3976" y="0"/>
            <a:ext cx="8328024" cy="6858000"/>
          </a:xfrm>
          <a:solidFill>
            <a:srgbClr val="E2E3E3"/>
          </a:solidFill>
        </p:spPr>
        <p:txBody>
          <a:bodyPr bIns="792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F6FD0475-3E45-470D-AEE6-B1E29AE2FE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3863975" cy="6858000"/>
          </a:xfrm>
          <a:solidFill>
            <a:schemeClr val="accent1"/>
          </a:solidFill>
        </p:spPr>
        <p:txBody>
          <a:bodyPr lIns="324000" rIns="324000" bIns="576000" anchor="ctr" anchorCtr="0"/>
          <a:lstStyle>
            <a:lvl1pPr marL="0" indent="0" algn="ctr">
              <a:lnSpc>
                <a:spcPct val="100000"/>
              </a:lnSpc>
              <a:buFontTx/>
              <a:buNone/>
              <a:defRPr sz="2600" b="0" i="0">
                <a:solidFill>
                  <a:schemeClr val="tx1"/>
                </a:solidFill>
                <a:latin typeface="+mj-lt"/>
              </a:defRPr>
            </a:lvl1pPr>
            <a:lvl2pPr marL="144000" indent="0">
              <a:buFontTx/>
              <a:buNone/>
              <a:defRPr/>
            </a:lvl2pPr>
            <a:lvl3pPr marL="288000" indent="0">
              <a:buFontTx/>
              <a:buNone/>
              <a:defRPr/>
            </a:lvl3pPr>
            <a:lvl4pPr marL="432000" indent="0">
              <a:buFontTx/>
              <a:buNone/>
              <a:defRPr/>
            </a:lvl4pPr>
            <a:lvl5pPr marL="432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Mastertext</a:t>
            </a:r>
            <a:r>
              <a:rPr lang="en-US" dirty="0"/>
              <a:t>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9A408CB-C82F-42A9-A163-F2CC83E6B364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0746682" y="6298208"/>
            <a:ext cx="929081" cy="1944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200">
                <a:solidFill>
                  <a:schemeClr val="bg2"/>
                </a:solidFill>
              </a:defRPr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92867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d to left and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C8BE6C84-D7F1-4898-994E-A5431B2E1CA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3976" y="0"/>
            <a:ext cx="8328024" cy="6858000"/>
          </a:xfrm>
          <a:solidFill>
            <a:srgbClr val="E2E3E3"/>
          </a:solidFill>
        </p:spPr>
        <p:txBody>
          <a:bodyPr bIns="792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F6FD0475-3E45-470D-AEE6-B1E29AE2FE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3863975" cy="6858000"/>
          </a:xfrm>
          <a:solidFill>
            <a:schemeClr val="tx2"/>
          </a:solidFill>
        </p:spPr>
        <p:txBody>
          <a:bodyPr lIns="324000" rIns="324000" bIns="576000" anchor="ctr" anchorCtr="0"/>
          <a:lstStyle>
            <a:lvl1pPr marL="0" indent="0" algn="ctr">
              <a:lnSpc>
                <a:spcPct val="100000"/>
              </a:lnSpc>
              <a:buFontTx/>
              <a:buNone/>
              <a:defRPr sz="3000" b="0"/>
            </a:lvl1pPr>
            <a:lvl2pPr marL="144000" indent="0">
              <a:buFontTx/>
              <a:buNone/>
              <a:defRPr/>
            </a:lvl2pPr>
            <a:lvl3pPr marL="288000" indent="0">
              <a:buFontTx/>
              <a:buNone/>
              <a:defRPr/>
            </a:lvl3pPr>
            <a:lvl4pPr marL="432000" indent="0">
              <a:buFontTx/>
              <a:buNone/>
              <a:defRPr/>
            </a:lvl4pPr>
            <a:lvl5pPr marL="432000" indent="0">
              <a:buFontTx/>
              <a:buNone/>
              <a:defRPr/>
            </a:lvl5pPr>
          </a:lstStyle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8850" y="442800"/>
            <a:ext cx="2734900" cy="97275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 style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3420EA-7002-4F4F-87A2-D990214BF3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98848" y="1592263"/>
            <a:ext cx="2734902" cy="43926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EE5A953-1F08-4D24-8243-67DA497B002D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0746682" y="6298208"/>
            <a:ext cx="929081" cy="1944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200">
                <a:solidFill>
                  <a:schemeClr val="bg1"/>
                </a:solidFill>
              </a:defRPr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3731642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d to right and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FFEB0D19-40FF-418F-AC18-CD6A0B777A1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8328026" cy="6858000"/>
          </a:xfrm>
          <a:solidFill>
            <a:srgbClr val="E2E3E3"/>
          </a:solidFill>
        </p:spPr>
        <p:txBody>
          <a:bodyPr tIns="108000" bIns="792000" anchor="t" anchorCtr="0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21DFA6E-EE7A-4114-9A0C-3B4F85015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073513"/>
            <a:ext cx="8328025" cy="4605463"/>
          </a:xfrm>
        </p:spPr>
        <p:txBody>
          <a:bodyPr lIns="468000" rIns="468000" anchor="ctr" anchorCtr="0"/>
          <a:lstStyle>
            <a:lvl1pPr marL="0" indent="0" algn="ctr">
              <a:spcBef>
                <a:spcPts val="0"/>
              </a:spcBef>
              <a:buNone/>
              <a:defRPr sz="5500">
                <a:solidFill>
                  <a:schemeClr val="bg1"/>
                </a:solidFill>
                <a:latin typeface="+mj-lt"/>
              </a:defRPr>
            </a:lvl1pPr>
            <a:lvl2pPr marL="144000" indent="0" algn="ctr">
              <a:buNone/>
              <a:defRPr sz="5500">
                <a:solidFill>
                  <a:schemeClr val="accent3"/>
                </a:solidFill>
                <a:latin typeface="+mj-lt"/>
              </a:defRPr>
            </a:lvl2pPr>
            <a:lvl3pPr>
              <a:defRPr sz="5500">
                <a:latin typeface="+mj-lt"/>
              </a:defRPr>
            </a:lvl3pPr>
            <a:lvl4pPr>
              <a:defRPr sz="5500">
                <a:latin typeface="+mj-lt"/>
              </a:defRPr>
            </a:lvl4pPr>
            <a:lvl5pPr>
              <a:defRPr sz="5500">
                <a:latin typeface="+mj-lt"/>
              </a:defRPr>
            </a:lvl5pPr>
          </a:lstStyle>
          <a:p>
            <a:pPr lvl="0"/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ext styles</a:t>
            </a:r>
            <a:endParaRPr lang="da-DK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F6FD0475-3E45-470D-AEE6-B1E29AE2FE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28025" y="0"/>
            <a:ext cx="3863976" cy="6858000"/>
          </a:xfrm>
          <a:solidFill>
            <a:schemeClr val="accent1"/>
          </a:solidFill>
        </p:spPr>
        <p:txBody>
          <a:bodyPr lIns="324000" rIns="324000" bIns="576000" anchor="ctr" anchorCtr="0"/>
          <a:lstStyle>
            <a:lvl1pPr marL="0" indent="0" algn="ctr">
              <a:lnSpc>
                <a:spcPct val="100000"/>
              </a:lnSpc>
              <a:buFontTx/>
              <a:buNone/>
              <a:defRPr sz="2600" b="0" i="0">
                <a:latin typeface="+mn-lt"/>
              </a:defRPr>
            </a:lvl1pPr>
            <a:lvl2pPr marL="144000" indent="0">
              <a:buFontTx/>
              <a:buNone/>
              <a:defRPr/>
            </a:lvl2pPr>
            <a:lvl3pPr marL="288000" indent="0">
              <a:buFontTx/>
              <a:buNone/>
              <a:defRPr/>
            </a:lvl3pPr>
            <a:lvl4pPr marL="432000" indent="0">
              <a:buFontTx/>
              <a:buNone/>
              <a:defRPr/>
            </a:lvl4pPr>
            <a:lvl5pPr marL="4320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Mastertext</a:t>
            </a:r>
            <a:r>
              <a:rPr lang="en-US" dirty="0"/>
              <a:t>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F9E9460-87AC-41C3-9750-CE851C5417AA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0746682" y="6298208"/>
            <a:ext cx="929081" cy="1944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200">
                <a:solidFill>
                  <a:schemeClr val="bg2"/>
                </a:solidFill>
              </a:defRPr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875331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d to right and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C8BE6C84-D7F1-4898-994E-A5431B2E1CA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28024" y="0"/>
            <a:ext cx="3863976" cy="6858000"/>
          </a:xfrm>
          <a:solidFill>
            <a:srgbClr val="E2E3E3"/>
          </a:solidFill>
        </p:spPr>
        <p:txBody>
          <a:bodyPr bIns="792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F6FD0475-3E45-470D-AEE6-B1E29AE2FE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8328024" cy="6858000"/>
          </a:xfrm>
          <a:solidFill>
            <a:schemeClr val="accent1"/>
          </a:solidFill>
        </p:spPr>
        <p:txBody>
          <a:bodyPr lIns="324000" rIns="324000" bIns="576000" anchor="ctr" anchorCtr="0"/>
          <a:lstStyle>
            <a:lvl1pPr marL="0" indent="0" algn="ctr">
              <a:lnSpc>
                <a:spcPct val="100000"/>
              </a:lnSpc>
              <a:buFontTx/>
              <a:buNone/>
              <a:defRPr sz="3000" b="0"/>
            </a:lvl1pPr>
            <a:lvl2pPr marL="144000" indent="0">
              <a:buFontTx/>
              <a:buNone/>
              <a:defRPr/>
            </a:lvl2pPr>
            <a:lvl3pPr marL="288000" indent="0">
              <a:buFontTx/>
              <a:buNone/>
              <a:defRPr/>
            </a:lvl3pPr>
            <a:lvl4pPr marL="432000" indent="0">
              <a:buFontTx/>
              <a:buNone/>
              <a:defRPr/>
            </a:lvl4pPr>
            <a:lvl5pPr marL="432000" indent="0">
              <a:buFontTx/>
              <a:buNone/>
              <a:defRPr/>
            </a:lvl5pPr>
          </a:lstStyle>
          <a:p>
            <a:pPr lvl="0"/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800" y="442800"/>
            <a:ext cx="7152910" cy="972754"/>
          </a:xfrm>
        </p:spPr>
        <p:txBody>
          <a:bodyPr/>
          <a:lstStyle/>
          <a:p>
            <a:r>
              <a:rPr lang="en-US" dirty="0"/>
              <a:t>Click to edit title style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3420EA-7002-4F4F-87A2-D990214BF3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6800" y="1592263"/>
            <a:ext cx="7152916" cy="439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5D23B5E-8765-48EE-92AB-AF6959A63764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0746682" y="6298208"/>
            <a:ext cx="929081" cy="1944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200">
                <a:solidFill>
                  <a:schemeClr val="bg2"/>
                </a:solidFill>
              </a:defRPr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043615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00" y="442800"/>
            <a:ext cx="3265127" cy="1927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F222A53-616C-45FF-8232-5920DA84973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40238" y="442799"/>
            <a:ext cx="7152915" cy="5542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3BD820C8-63AF-4DD5-A4EF-348F6970D9F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2865437"/>
            <a:ext cx="4140000" cy="3119438"/>
          </a:xfrm>
          <a:solidFill>
            <a:schemeClr val="accent1"/>
          </a:solidFill>
        </p:spPr>
        <p:txBody>
          <a:bodyPr lIns="612000" tIns="684000" rIns="360000"/>
          <a:lstStyle>
            <a:lvl1pPr marL="0" indent="0">
              <a:buFontTx/>
              <a:buNone/>
              <a:defRPr sz="2400" i="1">
                <a:latin typeface="+mn-lt"/>
                <a:cs typeface="Arial" panose="020B0604020202020204" pitchFamily="34" charset="0"/>
              </a:defRPr>
            </a:lvl1pPr>
            <a:lvl2pPr marL="144000" indent="0">
              <a:buFontTx/>
              <a:buNone/>
              <a:defRPr i="1"/>
            </a:lvl2pPr>
            <a:lvl3pPr marL="288000" indent="0">
              <a:buFontTx/>
              <a:buNone/>
              <a:defRPr i="1"/>
            </a:lvl3pPr>
            <a:lvl4pPr marL="432000" indent="0">
              <a:buFontTx/>
              <a:buNone/>
              <a:defRPr i="1"/>
            </a:lvl4pPr>
            <a:lvl5pPr marL="432000" indent="0">
              <a:buFontTx/>
              <a:buNone/>
              <a:defRPr i="1"/>
            </a:lvl5pPr>
          </a:lstStyle>
          <a:p>
            <a:pPr lvl="0"/>
            <a:r>
              <a:rPr lang="en-US" dirty="0"/>
              <a:t>Insert quo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2634F49-3DEB-46B0-B38F-D87DB997FCE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5648" y="3160442"/>
            <a:ext cx="277200" cy="2412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004068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800" y="442800"/>
            <a:ext cx="11017825" cy="9727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F222A53-616C-45FF-8232-5920DA84973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86800" y="1592263"/>
            <a:ext cx="7152915" cy="439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16" name="Text Placeholder 18">
            <a:extLst>
              <a:ext uri="{FF2B5EF4-FFF2-40B4-BE49-F238E27FC236}">
                <a16:creationId xmlns:a16="http://schemas.microsoft.com/office/drawing/2014/main" id="{3BD820C8-63AF-4DD5-A4EF-348F6970D9F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28025" y="1607259"/>
            <a:ext cx="3863975" cy="3119438"/>
          </a:xfrm>
          <a:solidFill>
            <a:schemeClr val="bg2"/>
          </a:solidFill>
        </p:spPr>
        <p:txBody>
          <a:bodyPr lIns="468000" tIns="684000" rIns="360000"/>
          <a:lstStyle>
            <a:lvl1pPr marL="0" indent="0">
              <a:buFontTx/>
              <a:buNone/>
              <a:defRPr sz="2400" i="1">
                <a:latin typeface="+mn-lt"/>
                <a:cs typeface="Arial" panose="020B0604020202020204" pitchFamily="34" charset="0"/>
              </a:defRPr>
            </a:lvl1pPr>
            <a:lvl2pPr marL="144000" indent="0">
              <a:buFontTx/>
              <a:buNone/>
              <a:defRPr i="1"/>
            </a:lvl2pPr>
            <a:lvl3pPr marL="288000" indent="0">
              <a:buFontTx/>
              <a:buNone/>
              <a:defRPr i="1"/>
            </a:lvl3pPr>
            <a:lvl4pPr marL="432000" indent="0">
              <a:buFontTx/>
              <a:buNone/>
              <a:defRPr i="1"/>
            </a:lvl4pPr>
            <a:lvl5pPr marL="432000" indent="0">
              <a:buFontTx/>
              <a:buNone/>
              <a:defRPr i="1"/>
            </a:lvl5pPr>
          </a:lstStyle>
          <a:p>
            <a:pPr lvl="0"/>
            <a:r>
              <a:rPr lang="en-US" dirty="0"/>
              <a:t>Insert quot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2634F49-3DEB-46B0-B38F-D87DB997FCE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16975" y="1902264"/>
            <a:ext cx="277200" cy="2412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3161263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ull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7B2833F0-014B-413F-A417-41E98EAB9E2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rgbClr val="E2E3E3"/>
          </a:solidFill>
        </p:spPr>
        <p:txBody>
          <a:bodyPr bIns="792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844C881-E9C0-4CDA-825D-A770751D1DCD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10746682" y="6298208"/>
            <a:ext cx="929081" cy="1944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200">
                <a:solidFill>
                  <a:schemeClr val="bg2"/>
                </a:solidFill>
              </a:defRPr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109028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22719-6F89-4EBE-BEE1-72B8304DC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95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294E9F9-C6E6-4CB6-A2B1-A9D9CA726D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7374" y="5984875"/>
            <a:ext cx="11017250" cy="180000"/>
          </a:xfrm>
        </p:spPr>
        <p:txBody>
          <a:bodyPr anchor="b" anchorCtr="0"/>
          <a:lstStyle>
            <a:lvl1pPr marL="0" indent="0" rtl="0">
              <a:spcBef>
                <a:spcPts val="0"/>
              </a:spcBef>
              <a:buNone/>
              <a:defRPr sz="900">
                <a:latin typeface="+mn-lt"/>
              </a:defRPr>
            </a:lvl1pPr>
          </a:lstStyle>
          <a:p>
            <a:pPr lvl="0"/>
            <a:r>
              <a:rPr lang="en-US" dirty="0"/>
              <a:t>Source: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81238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CF3E1C-D5EA-4C21-9088-735F5FB55BE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7BFE62-22E3-4ED2-A8D9-8B14C64FCF9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F55514-3FD5-4B4F-BAA0-A82D3AC71FB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562961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5E743-92EA-5041-B513-5507BD9B3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C61A9B-39C3-6844-B163-2EC1A8F649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C387E-0B60-0141-98D5-87900CD45C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7BF23C-D7D0-2C40-A372-776E652161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550018E-95CF-214C-8B51-FD6D2F11413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AC365EA-62D0-0342-897D-E1DA5D587D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86328-495A-C142-8B62-F79BD2AD3BA9}" type="datetimeFigureOut">
              <a:rPr lang="en-CH" smtClean="0"/>
              <a:t>04/17/2023</a:t>
            </a:fld>
            <a:endParaRPr lang="en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71BF71-E160-EB42-AA06-8ECDB663E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4917697-2D9D-E043-9FD5-1F8186BF7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05C82-4587-2E49-A778-8010EE2A041D}" type="slidenum">
              <a:rPr lang="en-CH" smtClean="0"/>
              <a:t>‹N°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8432929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lid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80287A5-B974-490C-8B10-0FB3073EC1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A51A03-EAF5-45E3-8F0B-E08F65E584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6DAABD-644C-4BFE-B72D-997CAFD1FE9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FCAD76-EF22-4FB3-9239-A50F052B341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  <a:endParaRPr lang="da-DK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F86CF4-AAD5-439D-B01B-AE59C4BCBA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6963" y="6299067"/>
            <a:ext cx="928800" cy="193541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93F5CF4-5E92-477F-A6D8-3F774FBDEF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84000"/>
            <a:ext cx="12191999" cy="5112000"/>
          </a:xfrm>
        </p:spPr>
        <p:txBody>
          <a:bodyPr anchor="ctr" anchorCtr="0"/>
          <a:lstStyle>
            <a:lvl1pPr marL="0" indent="0" algn="ctr">
              <a:lnSpc>
                <a:spcPct val="95000"/>
              </a:lnSpc>
              <a:spcBef>
                <a:spcPts val="0"/>
              </a:spcBef>
              <a:buFontTx/>
              <a:buNone/>
              <a:defRPr sz="5500" b="0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reak slide 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16731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l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80287A5-B974-490C-8B10-0FB3073EC1A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7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A51A03-EAF5-45E3-8F0B-E08F65E584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6DAABD-644C-4BFE-B72D-997CAFD1FE9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FCAD76-EF22-4FB3-9239-A50F052B341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  <a:endParaRPr lang="da-DK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FD2917-009E-4A94-BD73-E574C57B9D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48275" y="6299067"/>
            <a:ext cx="926175" cy="193541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816C8B6A-E794-461F-8CF9-7B15BB5027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84000"/>
            <a:ext cx="12191999" cy="5112000"/>
          </a:xfrm>
        </p:spPr>
        <p:txBody>
          <a:bodyPr anchor="ctr" anchorCtr="0"/>
          <a:lstStyle>
            <a:lvl1pPr marL="0" indent="0" algn="ctr">
              <a:lnSpc>
                <a:spcPct val="95000"/>
              </a:lnSpc>
              <a:spcBef>
                <a:spcPts val="0"/>
              </a:spcBef>
              <a:buFontTx/>
              <a:buNone/>
              <a:defRPr sz="5500" b="0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reak slide 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43988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slide with full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79D41DEC-74B4-483D-9EBD-FC9F1CDCB10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rgbClr val="E2E3E3"/>
          </a:solidFill>
        </p:spPr>
        <p:txBody>
          <a:bodyPr tIns="216000" bIns="720000" anchor="t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0EC60F8-2124-45B7-A181-8D8F3F8239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746963" y="6298208"/>
            <a:ext cx="928800" cy="194400"/>
          </a:xfr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defRPr sz="200">
                <a:solidFill>
                  <a:schemeClr val="accent3"/>
                </a:solidFill>
              </a:defRPr>
            </a:lvl1pPr>
            <a:lvl2pPr>
              <a:defRPr sz="200"/>
            </a:lvl2pPr>
            <a:lvl3pPr>
              <a:defRPr sz="200"/>
            </a:lvl3pPr>
            <a:lvl4pPr>
              <a:defRPr sz="200"/>
            </a:lvl4pPr>
            <a:lvl5pPr>
              <a:defRPr sz="200"/>
            </a:lvl5pPr>
          </a:lstStyle>
          <a:p>
            <a:pPr lvl="0"/>
            <a:r>
              <a:rPr lang="en-US" dirty="0"/>
              <a:t> d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A51A03-EAF5-45E3-8F0B-E08F65E584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6DAABD-644C-4BFE-B72D-997CAFD1FE9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FCAD76-EF22-4FB3-9239-A50F052B341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Title</a:t>
            </a:r>
            <a:endParaRPr lang="da-DK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36F061-1363-43B8-912D-DFAD0563D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1440000"/>
            <a:ext cx="12191999" cy="3600000"/>
          </a:xfrm>
        </p:spPr>
        <p:txBody>
          <a:bodyPr anchor="ctr" anchorCtr="0"/>
          <a:lstStyle>
            <a:lvl1pPr marL="0" indent="0" algn="ctr">
              <a:lnSpc>
                <a:spcPct val="95000"/>
              </a:lnSpc>
              <a:spcBef>
                <a:spcPts val="0"/>
              </a:spcBef>
              <a:buFontTx/>
              <a:buNone/>
              <a:defRPr sz="5500" b="0" cap="none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reak slide 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08393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10D6D93-A3B5-4832-BA7D-69733F5B5D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85775" y="476250"/>
            <a:ext cx="6418850" cy="5508625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5334204-0BEA-4046-825E-03F24E80E4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4784942" cy="6858000"/>
          </a:xfrm>
          <a:prstGeom prst="homePlate">
            <a:avLst>
              <a:gd name="adj" fmla="val 21028"/>
            </a:avLst>
          </a:prstGeom>
          <a:solidFill>
            <a:schemeClr val="accent1"/>
          </a:solidFill>
        </p:spPr>
        <p:txBody>
          <a:bodyPr lIns="576000" rIns="360000" bIns="0" anchor="ctr" anchorCtr="0"/>
          <a:lstStyle>
            <a:lvl1pPr marL="0" indent="0">
              <a:buNone/>
              <a:defRPr sz="2600">
                <a:latin typeface="+mj-lt"/>
              </a:defRPr>
            </a:lvl1pPr>
            <a:lvl2pPr marL="144000">
              <a:defRPr sz="2600"/>
            </a:lvl2pPr>
            <a:lvl3pPr marL="288000">
              <a:defRPr sz="2600"/>
            </a:lvl3pPr>
            <a:lvl4pPr marL="432000">
              <a:defRPr sz="2600"/>
            </a:lvl4pPr>
            <a:lvl5pPr marL="432000">
              <a:defRPr sz="2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5219543-B4AB-43B3-A7D6-A19751E760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756330-65B9-4925-ABBA-39677788BF4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7366BA-1B0C-42E0-B0A0-9E02DD27662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579293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0B0CCD8-E5CC-4E92-9C49-1553A26562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700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2CD4842-E39E-413F-95A2-003AF57FF5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2250" y="6214430"/>
            <a:ext cx="1324800" cy="276058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87FDB63C-6A8A-41F3-9233-48247BF9210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73002" y="786412"/>
            <a:ext cx="3245997" cy="4531177"/>
          </a:xfrm>
          <a:custGeom>
            <a:avLst/>
            <a:gdLst>
              <a:gd name="T0" fmla="*/ 2149 w 3215"/>
              <a:gd name="T1" fmla="*/ 125 h 4487"/>
              <a:gd name="T2" fmla="*/ 2144 w 3215"/>
              <a:gd name="T3" fmla="*/ 130 h 4487"/>
              <a:gd name="T4" fmla="*/ 1858 w 3215"/>
              <a:gd name="T5" fmla="*/ 784 h 4487"/>
              <a:gd name="T6" fmla="*/ 1862 w 3215"/>
              <a:gd name="T7" fmla="*/ 788 h 4487"/>
              <a:gd name="T8" fmla="*/ 2041 w 3215"/>
              <a:gd name="T9" fmla="*/ 828 h 4487"/>
              <a:gd name="T10" fmla="*/ 2046 w 3215"/>
              <a:gd name="T11" fmla="*/ 824 h 4487"/>
              <a:gd name="T12" fmla="*/ 2176 w 3215"/>
              <a:gd name="T13" fmla="*/ 134 h 4487"/>
              <a:gd name="T14" fmla="*/ 2171 w 3215"/>
              <a:gd name="T15" fmla="*/ 130 h 4487"/>
              <a:gd name="T16" fmla="*/ 2149 w 3215"/>
              <a:gd name="T17" fmla="*/ 125 h 4487"/>
              <a:gd name="T18" fmla="*/ 1065 w 3215"/>
              <a:gd name="T19" fmla="*/ 125 h 4487"/>
              <a:gd name="T20" fmla="*/ 1043 w 3215"/>
              <a:gd name="T21" fmla="*/ 130 h 4487"/>
              <a:gd name="T22" fmla="*/ 1038 w 3215"/>
              <a:gd name="T23" fmla="*/ 134 h 4487"/>
              <a:gd name="T24" fmla="*/ 1168 w 3215"/>
              <a:gd name="T25" fmla="*/ 824 h 4487"/>
              <a:gd name="T26" fmla="*/ 1173 w 3215"/>
              <a:gd name="T27" fmla="*/ 828 h 4487"/>
              <a:gd name="T28" fmla="*/ 1352 w 3215"/>
              <a:gd name="T29" fmla="*/ 788 h 4487"/>
              <a:gd name="T30" fmla="*/ 1356 w 3215"/>
              <a:gd name="T31" fmla="*/ 784 h 4487"/>
              <a:gd name="T32" fmla="*/ 1070 w 3215"/>
              <a:gd name="T33" fmla="*/ 130 h 4487"/>
              <a:gd name="T34" fmla="*/ 1065 w 3215"/>
              <a:gd name="T35" fmla="*/ 125 h 4487"/>
              <a:gd name="T36" fmla="*/ 1607 w 3215"/>
              <a:gd name="T37" fmla="*/ 882 h 4487"/>
              <a:gd name="T38" fmla="*/ 1500 w 3215"/>
              <a:gd name="T39" fmla="*/ 985 h 4487"/>
              <a:gd name="T40" fmla="*/ 1607 w 3215"/>
              <a:gd name="T41" fmla="*/ 1093 h 4487"/>
              <a:gd name="T42" fmla="*/ 1710 w 3215"/>
              <a:gd name="T43" fmla="*/ 985 h 4487"/>
              <a:gd name="T44" fmla="*/ 1607 w 3215"/>
              <a:gd name="T45" fmla="*/ 882 h 4487"/>
              <a:gd name="T46" fmla="*/ 1907 w 3215"/>
              <a:gd name="T47" fmla="*/ 913 h 4487"/>
              <a:gd name="T48" fmla="*/ 1800 w 3215"/>
              <a:gd name="T49" fmla="*/ 1016 h 4487"/>
              <a:gd name="T50" fmla="*/ 1907 w 3215"/>
              <a:gd name="T51" fmla="*/ 1124 h 4487"/>
              <a:gd name="T52" fmla="*/ 2010 w 3215"/>
              <a:gd name="T53" fmla="*/ 1016 h 4487"/>
              <a:gd name="T54" fmla="*/ 1907 w 3215"/>
              <a:gd name="T55" fmla="*/ 913 h 4487"/>
              <a:gd name="T56" fmla="*/ 1307 w 3215"/>
              <a:gd name="T57" fmla="*/ 913 h 4487"/>
              <a:gd name="T58" fmla="*/ 1200 w 3215"/>
              <a:gd name="T59" fmla="*/ 1016 h 4487"/>
              <a:gd name="T60" fmla="*/ 1307 w 3215"/>
              <a:gd name="T61" fmla="*/ 1124 h 4487"/>
              <a:gd name="T62" fmla="*/ 1410 w 3215"/>
              <a:gd name="T63" fmla="*/ 1016 h 4487"/>
              <a:gd name="T64" fmla="*/ 1307 w 3215"/>
              <a:gd name="T65" fmla="*/ 913 h 4487"/>
              <a:gd name="T66" fmla="*/ 1607 w 3215"/>
              <a:gd name="T67" fmla="*/ 1272 h 4487"/>
              <a:gd name="T68" fmla="*/ 0 w 3215"/>
              <a:gd name="T69" fmla="*/ 2879 h 4487"/>
              <a:gd name="T70" fmla="*/ 1607 w 3215"/>
              <a:gd name="T71" fmla="*/ 4487 h 4487"/>
              <a:gd name="T72" fmla="*/ 3215 w 3215"/>
              <a:gd name="T73" fmla="*/ 2879 h 4487"/>
              <a:gd name="T74" fmla="*/ 1607 w 3215"/>
              <a:gd name="T75" fmla="*/ 1272 h 4487"/>
              <a:gd name="T76" fmla="*/ 1607 w 3215"/>
              <a:gd name="T77" fmla="*/ 3972 h 4487"/>
              <a:gd name="T78" fmla="*/ 573 w 3215"/>
              <a:gd name="T79" fmla="*/ 2879 h 4487"/>
              <a:gd name="T80" fmla="*/ 1607 w 3215"/>
              <a:gd name="T81" fmla="*/ 1787 h 4487"/>
              <a:gd name="T82" fmla="*/ 2646 w 3215"/>
              <a:gd name="T83" fmla="*/ 2879 h 4487"/>
              <a:gd name="T84" fmla="*/ 1607 w 3215"/>
              <a:gd name="T85" fmla="*/ 3972 h 4487"/>
              <a:gd name="T86" fmla="*/ 1621 w 3215"/>
              <a:gd name="T87" fmla="*/ 0 h 4487"/>
              <a:gd name="T88" fmla="*/ 1598 w 3215"/>
              <a:gd name="T89" fmla="*/ 0 h 4487"/>
              <a:gd name="T90" fmla="*/ 1594 w 3215"/>
              <a:gd name="T91" fmla="*/ 4 h 4487"/>
              <a:gd name="T92" fmla="*/ 1513 w 3215"/>
              <a:gd name="T93" fmla="*/ 775 h 4487"/>
              <a:gd name="T94" fmla="*/ 1518 w 3215"/>
              <a:gd name="T95" fmla="*/ 779 h 4487"/>
              <a:gd name="T96" fmla="*/ 1607 w 3215"/>
              <a:gd name="T97" fmla="*/ 779 h 4487"/>
              <a:gd name="T98" fmla="*/ 1697 w 3215"/>
              <a:gd name="T99" fmla="*/ 779 h 4487"/>
              <a:gd name="T100" fmla="*/ 1701 w 3215"/>
              <a:gd name="T101" fmla="*/ 775 h 4487"/>
              <a:gd name="T102" fmla="*/ 1625 w 3215"/>
              <a:gd name="T103" fmla="*/ 4 h 4487"/>
              <a:gd name="T104" fmla="*/ 1621 w 3215"/>
              <a:gd name="T105" fmla="*/ 0 h 4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215" h="4487">
                <a:moveTo>
                  <a:pt x="2149" y="125"/>
                </a:moveTo>
                <a:cubicBezTo>
                  <a:pt x="2144" y="130"/>
                  <a:pt x="2144" y="130"/>
                  <a:pt x="2144" y="130"/>
                </a:cubicBezTo>
                <a:cubicBezTo>
                  <a:pt x="1858" y="784"/>
                  <a:pt x="1858" y="784"/>
                  <a:pt x="1858" y="784"/>
                </a:cubicBezTo>
                <a:cubicBezTo>
                  <a:pt x="1862" y="788"/>
                  <a:pt x="1862" y="788"/>
                  <a:pt x="1862" y="788"/>
                </a:cubicBezTo>
                <a:cubicBezTo>
                  <a:pt x="2041" y="828"/>
                  <a:pt x="2041" y="828"/>
                  <a:pt x="2041" y="828"/>
                </a:cubicBezTo>
                <a:cubicBezTo>
                  <a:pt x="2046" y="824"/>
                  <a:pt x="2046" y="824"/>
                  <a:pt x="2046" y="824"/>
                </a:cubicBezTo>
                <a:cubicBezTo>
                  <a:pt x="2176" y="134"/>
                  <a:pt x="2176" y="134"/>
                  <a:pt x="2176" y="134"/>
                </a:cubicBezTo>
                <a:cubicBezTo>
                  <a:pt x="2171" y="130"/>
                  <a:pt x="2171" y="130"/>
                  <a:pt x="2171" y="130"/>
                </a:cubicBezTo>
                <a:cubicBezTo>
                  <a:pt x="2149" y="125"/>
                  <a:pt x="2149" y="125"/>
                  <a:pt x="2149" y="125"/>
                </a:cubicBezTo>
                <a:moveTo>
                  <a:pt x="1065" y="125"/>
                </a:moveTo>
                <a:cubicBezTo>
                  <a:pt x="1043" y="130"/>
                  <a:pt x="1043" y="130"/>
                  <a:pt x="1043" y="130"/>
                </a:cubicBezTo>
                <a:cubicBezTo>
                  <a:pt x="1038" y="134"/>
                  <a:pt x="1038" y="134"/>
                  <a:pt x="1038" y="134"/>
                </a:cubicBezTo>
                <a:cubicBezTo>
                  <a:pt x="1168" y="824"/>
                  <a:pt x="1168" y="824"/>
                  <a:pt x="1168" y="824"/>
                </a:cubicBezTo>
                <a:cubicBezTo>
                  <a:pt x="1173" y="828"/>
                  <a:pt x="1173" y="828"/>
                  <a:pt x="1173" y="828"/>
                </a:cubicBezTo>
                <a:cubicBezTo>
                  <a:pt x="1352" y="788"/>
                  <a:pt x="1352" y="788"/>
                  <a:pt x="1352" y="788"/>
                </a:cubicBezTo>
                <a:cubicBezTo>
                  <a:pt x="1356" y="784"/>
                  <a:pt x="1356" y="784"/>
                  <a:pt x="1356" y="784"/>
                </a:cubicBezTo>
                <a:cubicBezTo>
                  <a:pt x="1070" y="130"/>
                  <a:pt x="1070" y="130"/>
                  <a:pt x="1070" y="130"/>
                </a:cubicBezTo>
                <a:cubicBezTo>
                  <a:pt x="1065" y="125"/>
                  <a:pt x="1065" y="125"/>
                  <a:pt x="1065" y="125"/>
                </a:cubicBezTo>
                <a:moveTo>
                  <a:pt x="1607" y="882"/>
                </a:moveTo>
                <a:cubicBezTo>
                  <a:pt x="1549" y="882"/>
                  <a:pt x="1500" y="927"/>
                  <a:pt x="1500" y="985"/>
                </a:cubicBezTo>
                <a:cubicBezTo>
                  <a:pt x="1500" y="1048"/>
                  <a:pt x="1549" y="1093"/>
                  <a:pt x="1607" y="1093"/>
                </a:cubicBezTo>
                <a:cubicBezTo>
                  <a:pt x="1661" y="1093"/>
                  <a:pt x="1710" y="1048"/>
                  <a:pt x="1710" y="985"/>
                </a:cubicBezTo>
                <a:cubicBezTo>
                  <a:pt x="1710" y="927"/>
                  <a:pt x="1661" y="882"/>
                  <a:pt x="1607" y="882"/>
                </a:cubicBezTo>
                <a:moveTo>
                  <a:pt x="1907" y="913"/>
                </a:moveTo>
                <a:cubicBezTo>
                  <a:pt x="1849" y="913"/>
                  <a:pt x="1800" y="958"/>
                  <a:pt x="1800" y="1016"/>
                </a:cubicBezTo>
                <a:cubicBezTo>
                  <a:pt x="1800" y="1079"/>
                  <a:pt x="1849" y="1124"/>
                  <a:pt x="1907" y="1124"/>
                </a:cubicBezTo>
                <a:cubicBezTo>
                  <a:pt x="1961" y="1124"/>
                  <a:pt x="2010" y="1079"/>
                  <a:pt x="2010" y="1016"/>
                </a:cubicBezTo>
                <a:cubicBezTo>
                  <a:pt x="2010" y="958"/>
                  <a:pt x="1961" y="913"/>
                  <a:pt x="1907" y="913"/>
                </a:cubicBezTo>
                <a:moveTo>
                  <a:pt x="1307" y="913"/>
                </a:moveTo>
                <a:cubicBezTo>
                  <a:pt x="1249" y="913"/>
                  <a:pt x="1200" y="958"/>
                  <a:pt x="1200" y="1016"/>
                </a:cubicBezTo>
                <a:cubicBezTo>
                  <a:pt x="1200" y="1079"/>
                  <a:pt x="1249" y="1124"/>
                  <a:pt x="1307" y="1124"/>
                </a:cubicBezTo>
                <a:cubicBezTo>
                  <a:pt x="1361" y="1124"/>
                  <a:pt x="1410" y="1079"/>
                  <a:pt x="1410" y="1016"/>
                </a:cubicBezTo>
                <a:cubicBezTo>
                  <a:pt x="1410" y="958"/>
                  <a:pt x="1361" y="913"/>
                  <a:pt x="1307" y="913"/>
                </a:cubicBezTo>
                <a:moveTo>
                  <a:pt x="1607" y="1272"/>
                </a:moveTo>
                <a:cubicBezTo>
                  <a:pt x="703" y="1272"/>
                  <a:pt x="0" y="1970"/>
                  <a:pt x="0" y="2879"/>
                </a:cubicBezTo>
                <a:cubicBezTo>
                  <a:pt x="0" y="3792"/>
                  <a:pt x="703" y="4487"/>
                  <a:pt x="1607" y="4487"/>
                </a:cubicBezTo>
                <a:cubicBezTo>
                  <a:pt x="2520" y="4487"/>
                  <a:pt x="3215" y="3792"/>
                  <a:pt x="3215" y="2879"/>
                </a:cubicBezTo>
                <a:cubicBezTo>
                  <a:pt x="3215" y="1970"/>
                  <a:pt x="2520" y="1272"/>
                  <a:pt x="1607" y="1272"/>
                </a:cubicBezTo>
                <a:moveTo>
                  <a:pt x="1607" y="3972"/>
                </a:moveTo>
                <a:cubicBezTo>
                  <a:pt x="1025" y="3972"/>
                  <a:pt x="573" y="3497"/>
                  <a:pt x="573" y="2879"/>
                </a:cubicBezTo>
                <a:cubicBezTo>
                  <a:pt x="573" y="2261"/>
                  <a:pt x="1025" y="1787"/>
                  <a:pt x="1607" y="1787"/>
                </a:cubicBezTo>
                <a:cubicBezTo>
                  <a:pt x="2194" y="1787"/>
                  <a:pt x="2646" y="2261"/>
                  <a:pt x="2646" y="2879"/>
                </a:cubicBezTo>
                <a:cubicBezTo>
                  <a:pt x="2646" y="3497"/>
                  <a:pt x="2194" y="3972"/>
                  <a:pt x="1607" y="3972"/>
                </a:cubicBezTo>
                <a:moveTo>
                  <a:pt x="1621" y="0"/>
                </a:moveTo>
                <a:cubicBezTo>
                  <a:pt x="1598" y="0"/>
                  <a:pt x="1598" y="0"/>
                  <a:pt x="1598" y="0"/>
                </a:cubicBezTo>
                <a:cubicBezTo>
                  <a:pt x="1594" y="4"/>
                  <a:pt x="1594" y="4"/>
                  <a:pt x="1594" y="4"/>
                </a:cubicBezTo>
                <a:cubicBezTo>
                  <a:pt x="1513" y="775"/>
                  <a:pt x="1513" y="775"/>
                  <a:pt x="1513" y="775"/>
                </a:cubicBezTo>
                <a:cubicBezTo>
                  <a:pt x="1518" y="779"/>
                  <a:pt x="1518" y="779"/>
                  <a:pt x="1518" y="779"/>
                </a:cubicBezTo>
                <a:cubicBezTo>
                  <a:pt x="1607" y="779"/>
                  <a:pt x="1607" y="779"/>
                  <a:pt x="1607" y="779"/>
                </a:cubicBezTo>
                <a:cubicBezTo>
                  <a:pt x="1697" y="779"/>
                  <a:pt x="1697" y="779"/>
                  <a:pt x="1697" y="779"/>
                </a:cubicBezTo>
                <a:cubicBezTo>
                  <a:pt x="1701" y="775"/>
                  <a:pt x="1701" y="775"/>
                  <a:pt x="1701" y="775"/>
                </a:cubicBezTo>
                <a:cubicBezTo>
                  <a:pt x="1625" y="4"/>
                  <a:pt x="1625" y="4"/>
                  <a:pt x="1625" y="4"/>
                </a:cubicBezTo>
                <a:cubicBezTo>
                  <a:pt x="1621" y="0"/>
                  <a:pt x="1621" y="0"/>
                  <a:pt x="1621" y="0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57789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0B0CCD8-E5CC-4E92-9C49-1553A26562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700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2CD4842-E39E-413F-95A2-003AF57FF5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84123" y="6214430"/>
            <a:ext cx="1321053" cy="276058"/>
          </a:xfrm>
          <a:prstGeom prst="rect">
            <a:avLst/>
          </a:prstGeom>
        </p:spPr>
      </p:pic>
      <p:sp>
        <p:nvSpPr>
          <p:cNvPr id="9" name="Freeform 5">
            <a:extLst>
              <a:ext uri="{FF2B5EF4-FFF2-40B4-BE49-F238E27FC236}">
                <a16:creationId xmlns:a16="http://schemas.microsoft.com/office/drawing/2014/main" id="{87FDB63C-6A8A-41F3-9233-48247BF9210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73002" y="786412"/>
            <a:ext cx="3245997" cy="4531177"/>
          </a:xfrm>
          <a:custGeom>
            <a:avLst/>
            <a:gdLst>
              <a:gd name="T0" fmla="*/ 2149 w 3215"/>
              <a:gd name="T1" fmla="*/ 125 h 4487"/>
              <a:gd name="T2" fmla="*/ 2144 w 3215"/>
              <a:gd name="T3" fmla="*/ 130 h 4487"/>
              <a:gd name="T4" fmla="*/ 1858 w 3215"/>
              <a:gd name="T5" fmla="*/ 784 h 4487"/>
              <a:gd name="T6" fmla="*/ 1862 w 3215"/>
              <a:gd name="T7" fmla="*/ 788 h 4487"/>
              <a:gd name="T8" fmla="*/ 2041 w 3215"/>
              <a:gd name="T9" fmla="*/ 828 h 4487"/>
              <a:gd name="T10" fmla="*/ 2046 w 3215"/>
              <a:gd name="T11" fmla="*/ 824 h 4487"/>
              <a:gd name="T12" fmla="*/ 2176 w 3215"/>
              <a:gd name="T13" fmla="*/ 134 h 4487"/>
              <a:gd name="T14" fmla="*/ 2171 w 3215"/>
              <a:gd name="T15" fmla="*/ 130 h 4487"/>
              <a:gd name="T16" fmla="*/ 2149 w 3215"/>
              <a:gd name="T17" fmla="*/ 125 h 4487"/>
              <a:gd name="T18" fmla="*/ 1065 w 3215"/>
              <a:gd name="T19" fmla="*/ 125 h 4487"/>
              <a:gd name="T20" fmla="*/ 1043 w 3215"/>
              <a:gd name="T21" fmla="*/ 130 h 4487"/>
              <a:gd name="T22" fmla="*/ 1038 w 3215"/>
              <a:gd name="T23" fmla="*/ 134 h 4487"/>
              <a:gd name="T24" fmla="*/ 1168 w 3215"/>
              <a:gd name="T25" fmla="*/ 824 h 4487"/>
              <a:gd name="T26" fmla="*/ 1173 w 3215"/>
              <a:gd name="T27" fmla="*/ 828 h 4487"/>
              <a:gd name="T28" fmla="*/ 1352 w 3215"/>
              <a:gd name="T29" fmla="*/ 788 h 4487"/>
              <a:gd name="T30" fmla="*/ 1356 w 3215"/>
              <a:gd name="T31" fmla="*/ 784 h 4487"/>
              <a:gd name="T32" fmla="*/ 1070 w 3215"/>
              <a:gd name="T33" fmla="*/ 130 h 4487"/>
              <a:gd name="T34" fmla="*/ 1065 w 3215"/>
              <a:gd name="T35" fmla="*/ 125 h 4487"/>
              <a:gd name="T36" fmla="*/ 1607 w 3215"/>
              <a:gd name="T37" fmla="*/ 882 h 4487"/>
              <a:gd name="T38" fmla="*/ 1500 w 3215"/>
              <a:gd name="T39" fmla="*/ 985 h 4487"/>
              <a:gd name="T40" fmla="*/ 1607 w 3215"/>
              <a:gd name="T41" fmla="*/ 1093 h 4487"/>
              <a:gd name="T42" fmla="*/ 1710 w 3215"/>
              <a:gd name="T43" fmla="*/ 985 h 4487"/>
              <a:gd name="T44" fmla="*/ 1607 w 3215"/>
              <a:gd name="T45" fmla="*/ 882 h 4487"/>
              <a:gd name="T46" fmla="*/ 1907 w 3215"/>
              <a:gd name="T47" fmla="*/ 913 h 4487"/>
              <a:gd name="T48" fmla="*/ 1800 w 3215"/>
              <a:gd name="T49" fmla="*/ 1016 h 4487"/>
              <a:gd name="T50" fmla="*/ 1907 w 3215"/>
              <a:gd name="T51" fmla="*/ 1124 h 4487"/>
              <a:gd name="T52" fmla="*/ 2010 w 3215"/>
              <a:gd name="T53" fmla="*/ 1016 h 4487"/>
              <a:gd name="T54" fmla="*/ 1907 w 3215"/>
              <a:gd name="T55" fmla="*/ 913 h 4487"/>
              <a:gd name="T56" fmla="*/ 1307 w 3215"/>
              <a:gd name="T57" fmla="*/ 913 h 4487"/>
              <a:gd name="T58" fmla="*/ 1200 w 3215"/>
              <a:gd name="T59" fmla="*/ 1016 h 4487"/>
              <a:gd name="T60" fmla="*/ 1307 w 3215"/>
              <a:gd name="T61" fmla="*/ 1124 h 4487"/>
              <a:gd name="T62" fmla="*/ 1410 w 3215"/>
              <a:gd name="T63" fmla="*/ 1016 h 4487"/>
              <a:gd name="T64" fmla="*/ 1307 w 3215"/>
              <a:gd name="T65" fmla="*/ 913 h 4487"/>
              <a:gd name="T66" fmla="*/ 1607 w 3215"/>
              <a:gd name="T67" fmla="*/ 1272 h 4487"/>
              <a:gd name="T68" fmla="*/ 0 w 3215"/>
              <a:gd name="T69" fmla="*/ 2879 h 4487"/>
              <a:gd name="T70" fmla="*/ 1607 w 3215"/>
              <a:gd name="T71" fmla="*/ 4487 h 4487"/>
              <a:gd name="T72" fmla="*/ 3215 w 3215"/>
              <a:gd name="T73" fmla="*/ 2879 h 4487"/>
              <a:gd name="T74" fmla="*/ 1607 w 3215"/>
              <a:gd name="T75" fmla="*/ 1272 h 4487"/>
              <a:gd name="T76" fmla="*/ 1607 w 3215"/>
              <a:gd name="T77" fmla="*/ 3972 h 4487"/>
              <a:gd name="T78" fmla="*/ 573 w 3215"/>
              <a:gd name="T79" fmla="*/ 2879 h 4487"/>
              <a:gd name="T80" fmla="*/ 1607 w 3215"/>
              <a:gd name="T81" fmla="*/ 1787 h 4487"/>
              <a:gd name="T82" fmla="*/ 2646 w 3215"/>
              <a:gd name="T83" fmla="*/ 2879 h 4487"/>
              <a:gd name="T84" fmla="*/ 1607 w 3215"/>
              <a:gd name="T85" fmla="*/ 3972 h 4487"/>
              <a:gd name="T86" fmla="*/ 1621 w 3215"/>
              <a:gd name="T87" fmla="*/ 0 h 4487"/>
              <a:gd name="T88" fmla="*/ 1598 w 3215"/>
              <a:gd name="T89" fmla="*/ 0 h 4487"/>
              <a:gd name="T90" fmla="*/ 1594 w 3215"/>
              <a:gd name="T91" fmla="*/ 4 h 4487"/>
              <a:gd name="T92" fmla="*/ 1513 w 3215"/>
              <a:gd name="T93" fmla="*/ 775 h 4487"/>
              <a:gd name="T94" fmla="*/ 1518 w 3215"/>
              <a:gd name="T95" fmla="*/ 779 h 4487"/>
              <a:gd name="T96" fmla="*/ 1607 w 3215"/>
              <a:gd name="T97" fmla="*/ 779 h 4487"/>
              <a:gd name="T98" fmla="*/ 1697 w 3215"/>
              <a:gd name="T99" fmla="*/ 779 h 4487"/>
              <a:gd name="T100" fmla="*/ 1701 w 3215"/>
              <a:gd name="T101" fmla="*/ 775 h 4487"/>
              <a:gd name="T102" fmla="*/ 1625 w 3215"/>
              <a:gd name="T103" fmla="*/ 4 h 4487"/>
              <a:gd name="T104" fmla="*/ 1621 w 3215"/>
              <a:gd name="T105" fmla="*/ 0 h 4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215" h="4487">
                <a:moveTo>
                  <a:pt x="2149" y="125"/>
                </a:moveTo>
                <a:cubicBezTo>
                  <a:pt x="2144" y="130"/>
                  <a:pt x="2144" y="130"/>
                  <a:pt x="2144" y="130"/>
                </a:cubicBezTo>
                <a:cubicBezTo>
                  <a:pt x="1858" y="784"/>
                  <a:pt x="1858" y="784"/>
                  <a:pt x="1858" y="784"/>
                </a:cubicBezTo>
                <a:cubicBezTo>
                  <a:pt x="1862" y="788"/>
                  <a:pt x="1862" y="788"/>
                  <a:pt x="1862" y="788"/>
                </a:cubicBezTo>
                <a:cubicBezTo>
                  <a:pt x="2041" y="828"/>
                  <a:pt x="2041" y="828"/>
                  <a:pt x="2041" y="828"/>
                </a:cubicBezTo>
                <a:cubicBezTo>
                  <a:pt x="2046" y="824"/>
                  <a:pt x="2046" y="824"/>
                  <a:pt x="2046" y="824"/>
                </a:cubicBezTo>
                <a:cubicBezTo>
                  <a:pt x="2176" y="134"/>
                  <a:pt x="2176" y="134"/>
                  <a:pt x="2176" y="134"/>
                </a:cubicBezTo>
                <a:cubicBezTo>
                  <a:pt x="2171" y="130"/>
                  <a:pt x="2171" y="130"/>
                  <a:pt x="2171" y="130"/>
                </a:cubicBezTo>
                <a:cubicBezTo>
                  <a:pt x="2149" y="125"/>
                  <a:pt x="2149" y="125"/>
                  <a:pt x="2149" y="125"/>
                </a:cubicBezTo>
                <a:moveTo>
                  <a:pt x="1065" y="125"/>
                </a:moveTo>
                <a:cubicBezTo>
                  <a:pt x="1043" y="130"/>
                  <a:pt x="1043" y="130"/>
                  <a:pt x="1043" y="130"/>
                </a:cubicBezTo>
                <a:cubicBezTo>
                  <a:pt x="1038" y="134"/>
                  <a:pt x="1038" y="134"/>
                  <a:pt x="1038" y="134"/>
                </a:cubicBezTo>
                <a:cubicBezTo>
                  <a:pt x="1168" y="824"/>
                  <a:pt x="1168" y="824"/>
                  <a:pt x="1168" y="824"/>
                </a:cubicBezTo>
                <a:cubicBezTo>
                  <a:pt x="1173" y="828"/>
                  <a:pt x="1173" y="828"/>
                  <a:pt x="1173" y="828"/>
                </a:cubicBezTo>
                <a:cubicBezTo>
                  <a:pt x="1352" y="788"/>
                  <a:pt x="1352" y="788"/>
                  <a:pt x="1352" y="788"/>
                </a:cubicBezTo>
                <a:cubicBezTo>
                  <a:pt x="1356" y="784"/>
                  <a:pt x="1356" y="784"/>
                  <a:pt x="1356" y="784"/>
                </a:cubicBezTo>
                <a:cubicBezTo>
                  <a:pt x="1070" y="130"/>
                  <a:pt x="1070" y="130"/>
                  <a:pt x="1070" y="130"/>
                </a:cubicBezTo>
                <a:cubicBezTo>
                  <a:pt x="1065" y="125"/>
                  <a:pt x="1065" y="125"/>
                  <a:pt x="1065" y="125"/>
                </a:cubicBezTo>
                <a:moveTo>
                  <a:pt x="1607" y="882"/>
                </a:moveTo>
                <a:cubicBezTo>
                  <a:pt x="1549" y="882"/>
                  <a:pt x="1500" y="927"/>
                  <a:pt x="1500" y="985"/>
                </a:cubicBezTo>
                <a:cubicBezTo>
                  <a:pt x="1500" y="1048"/>
                  <a:pt x="1549" y="1093"/>
                  <a:pt x="1607" y="1093"/>
                </a:cubicBezTo>
                <a:cubicBezTo>
                  <a:pt x="1661" y="1093"/>
                  <a:pt x="1710" y="1048"/>
                  <a:pt x="1710" y="985"/>
                </a:cubicBezTo>
                <a:cubicBezTo>
                  <a:pt x="1710" y="927"/>
                  <a:pt x="1661" y="882"/>
                  <a:pt x="1607" y="882"/>
                </a:cubicBezTo>
                <a:moveTo>
                  <a:pt x="1907" y="913"/>
                </a:moveTo>
                <a:cubicBezTo>
                  <a:pt x="1849" y="913"/>
                  <a:pt x="1800" y="958"/>
                  <a:pt x="1800" y="1016"/>
                </a:cubicBezTo>
                <a:cubicBezTo>
                  <a:pt x="1800" y="1079"/>
                  <a:pt x="1849" y="1124"/>
                  <a:pt x="1907" y="1124"/>
                </a:cubicBezTo>
                <a:cubicBezTo>
                  <a:pt x="1961" y="1124"/>
                  <a:pt x="2010" y="1079"/>
                  <a:pt x="2010" y="1016"/>
                </a:cubicBezTo>
                <a:cubicBezTo>
                  <a:pt x="2010" y="958"/>
                  <a:pt x="1961" y="913"/>
                  <a:pt x="1907" y="913"/>
                </a:cubicBezTo>
                <a:moveTo>
                  <a:pt x="1307" y="913"/>
                </a:moveTo>
                <a:cubicBezTo>
                  <a:pt x="1249" y="913"/>
                  <a:pt x="1200" y="958"/>
                  <a:pt x="1200" y="1016"/>
                </a:cubicBezTo>
                <a:cubicBezTo>
                  <a:pt x="1200" y="1079"/>
                  <a:pt x="1249" y="1124"/>
                  <a:pt x="1307" y="1124"/>
                </a:cubicBezTo>
                <a:cubicBezTo>
                  <a:pt x="1361" y="1124"/>
                  <a:pt x="1410" y="1079"/>
                  <a:pt x="1410" y="1016"/>
                </a:cubicBezTo>
                <a:cubicBezTo>
                  <a:pt x="1410" y="958"/>
                  <a:pt x="1361" y="913"/>
                  <a:pt x="1307" y="913"/>
                </a:cubicBezTo>
                <a:moveTo>
                  <a:pt x="1607" y="1272"/>
                </a:moveTo>
                <a:cubicBezTo>
                  <a:pt x="703" y="1272"/>
                  <a:pt x="0" y="1970"/>
                  <a:pt x="0" y="2879"/>
                </a:cubicBezTo>
                <a:cubicBezTo>
                  <a:pt x="0" y="3792"/>
                  <a:pt x="703" y="4487"/>
                  <a:pt x="1607" y="4487"/>
                </a:cubicBezTo>
                <a:cubicBezTo>
                  <a:pt x="2520" y="4487"/>
                  <a:pt x="3215" y="3792"/>
                  <a:pt x="3215" y="2879"/>
                </a:cubicBezTo>
                <a:cubicBezTo>
                  <a:pt x="3215" y="1970"/>
                  <a:pt x="2520" y="1272"/>
                  <a:pt x="1607" y="1272"/>
                </a:cubicBezTo>
                <a:moveTo>
                  <a:pt x="1607" y="3972"/>
                </a:moveTo>
                <a:cubicBezTo>
                  <a:pt x="1025" y="3972"/>
                  <a:pt x="573" y="3497"/>
                  <a:pt x="573" y="2879"/>
                </a:cubicBezTo>
                <a:cubicBezTo>
                  <a:pt x="573" y="2261"/>
                  <a:pt x="1025" y="1787"/>
                  <a:pt x="1607" y="1787"/>
                </a:cubicBezTo>
                <a:cubicBezTo>
                  <a:pt x="2194" y="1787"/>
                  <a:pt x="2646" y="2261"/>
                  <a:pt x="2646" y="2879"/>
                </a:cubicBezTo>
                <a:cubicBezTo>
                  <a:pt x="2646" y="3497"/>
                  <a:pt x="2194" y="3972"/>
                  <a:pt x="1607" y="3972"/>
                </a:cubicBezTo>
                <a:moveTo>
                  <a:pt x="1621" y="0"/>
                </a:moveTo>
                <a:cubicBezTo>
                  <a:pt x="1598" y="0"/>
                  <a:pt x="1598" y="0"/>
                  <a:pt x="1598" y="0"/>
                </a:cubicBezTo>
                <a:cubicBezTo>
                  <a:pt x="1594" y="4"/>
                  <a:pt x="1594" y="4"/>
                  <a:pt x="1594" y="4"/>
                </a:cubicBezTo>
                <a:cubicBezTo>
                  <a:pt x="1513" y="775"/>
                  <a:pt x="1513" y="775"/>
                  <a:pt x="1513" y="775"/>
                </a:cubicBezTo>
                <a:cubicBezTo>
                  <a:pt x="1518" y="779"/>
                  <a:pt x="1518" y="779"/>
                  <a:pt x="1518" y="779"/>
                </a:cubicBezTo>
                <a:cubicBezTo>
                  <a:pt x="1607" y="779"/>
                  <a:pt x="1607" y="779"/>
                  <a:pt x="1607" y="779"/>
                </a:cubicBezTo>
                <a:cubicBezTo>
                  <a:pt x="1697" y="779"/>
                  <a:pt x="1697" y="779"/>
                  <a:pt x="1697" y="779"/>
                </a:cubicBezTo>
                <a:cubicBezTo>
                  <a:pt x="1701" y="775"/>
                  <a:pt x="1701" y="775"/>
                  <a:pt x="1701" y="775"/>
                </a:cubicBezTo>
                <a:cubicBezTo>
                  <a:pt x="1625" y="4"/>
                  <a:pt x="1625" y="4"/>
                  <a:pt x="1625" y="4"/>
                </a:cubicBezTo>
                <a:cubicBezTo>
                  <a:pt x="1621" y="0"/>
                  <a:pt x="1621" y="0"/>
                  <a:pt x="1621" y="0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114998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1371143-F641-415C-8DC5-07BDE2734F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74E1C25-D187-4994-963B-FE742C0C4A3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A47994-63FA-4644-AA22-23560AA5C7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678568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C08490-612C-EF4D-8B97-43716AFDE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B009CD-8A02-E54E-8BB5-D2403A7C03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86328-495A-C142-8B62-F79BD2AD3BA9}" type="datetimeFigureOut">
              <a:rPr lang="en-CH" smtClean="0"/>
              <a:t>04/17/2023</a:t>
            </a:fld>
            <a:endParaRPr lang="en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55001A5-EC5B-9348-9EE6-2A1CC8D36D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F01F54-6CE4-F24D-8A5E-8E7244B26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05C82-4587-2E49-A778-8010EE2A041D}" type="slidenum">
              <a:rPr lang="en-CH" smtClean="0"/>
              <a:t>‹N°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6456683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B0DD7A-A43D-9F46-8737-F8E64AF73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86328-495A-C142-8B62-F79BD2AD3BA9}" type="datetimeFigureOut">
              <a:rPr lang="en-CH" smtClean="0"/>
              <a:t>04/17/2023</a:t>
            </a:fld>
            <a:endParaRPr lang="en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991263-6CF3-7341-83AA-8771DFBEB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54D465-C452-4244-90A9-2EB2FB4EB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05C82-4587-2E49-A778-8010EE2A041D}" type="slidenum">
              <a:rPr lang="en-CH" smtClean="0"/>
              <a:t>‹N°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9436980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EDA44C-E540-F14B-BF5B-29AEA52B39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34ABD9-CCF5-1542-8856-D1A6CB060C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4F79B4F-ECC1-284C-BC2D-7162FFEBFC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9B9399-57FB-D04D-8FDA-15FDC01FD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86328-495A-C142-8B62-F79BD2AD3BA9}" type="datetimeFigureOut">
              <a:rPr lang="en-CH" smtClean="0"/>
              <a:t>04/17/2023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3036FC-7C8E-334C-B90B-31CEF645B4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50BD45-54F4-5149-B960-2B2AFEC885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05C82-4587-2E49-A778-8010EE2A041D}" type="slidenum">
              <a:rPr lang="en-CH" smtClean="0"/>
              <a:t>‹N°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1348745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E4EB22-3BCB-C54E-B095-45E17FE0D5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2561A73-7D74-D342-8590-2814F09A73B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8C948B-DC91-DE49-AA08-AA99CD80E4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5D95B4-0F86-004D-99D0-7547E35BB0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86328-495A-C142-8B62-F79BD2AD3BA9}" type="datetimeFigureOut">
              <a:rPr lang="en-CH" smtClean="0"/>
              <a:t>04/17/2023</a:t>
            </a:fld>
            <a:endParaRPr lang="en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BFC5D1-C99D-A143-A40D-719E85B63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CB10D8-A4AC-1E47-A411-B26F89EDF6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205C82-4587-2E49-A778-8010EE2A041D}" type="slidenum">
              <a:rPr lang="en-CH" smtClean="0"/>
              <a:t>‹N°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7449932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9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42" Type="http://schemas.openxmlformats.org/officeDocument/2006/relationships/theme" Target="../theme/theme2.xml"/><Relationship Id="rId47" Type="http://schemas.openxmlformats.org/officeDocument/2006/relationships/image" Target="../media/image4.emf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slideLayout" Target="../slideLayouts/slideLayout52.xml"/><Relationship Id="rId40" Type="http://schemas.openxmlformats.org/officeDocument/2006/relationships/slideLayout" Target="../slideLayouts/slideLayout55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Relationship Id="rId43" Type="http://schemas.openxmlformats.org/officeDocument/2006/relationships/tags" Target="../tags/tag1.xml"/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slideLayout" Target="../slideLayouts/slideLayout53.xml"/><Relationship Id="rId46" Type="http://schemas.openxmlformats.org/officeDocument/2006/relationships/image" Target="../media/image3.emf"/><Relationship Id="rId20" Type="http://schemas.openxmlformats.org/officeDocument/2006/relationships/slideLayout" Target="../slideLayouts/slideLayout35.xml"/><Relationship Id="rId41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28D7FF-37A7-A746-9B41-C3B15A392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AA18A8-7A79-5C45-9346-CD26D57A22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5E43E2-732D-9345-AF5D-2223E08A18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78086328-495A-C142-8B62-F79BD2AD3BA9}" type="datetimeFigureOut">
              <a:rPr lang="en-CH" smtClean="0"/>
              <a:pPr/>
              <a:t>04/17/2023</a:t>
            </a:fld>
            <a:endParaRPr lang="en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DFB3E6-B16F-8C47-9D17-C6830D16B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endParaRPr lang="en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D02759-F3A7-B640-83A2-C8CCB2C330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81205C82-4587-2E49-A778-8010EE2A041D}" type="slidenum">
              <a:rPr lang="en-CH" smtClean="0"/>
              <a:pPr/>
              <a:t>‹N°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2709993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02" r:id="rId12"/>
    <p:sldLayoutId id="2147483703" r:id="rId13"/>
    <p:sldLayoutId id="2147483704" r:id="rId14"/>
    <p:sldLayoutId id="214748370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CH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27E83B2-0CAB-4C1B-9C09-862D26F10C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379332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338" imgH="338" progId="TCLayout.ActiveDocument.1">
                  <p:embed/>
                </p:oleObj>
              </mc:Choice>
              <mc:Fallback>
                <p:oleObj name="think-cell Slide" r:id="rId45" imgW="338" imgH="33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27E83B2-0CAB-4C1B-9C09-862D26F10C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E788392-5008-430D-BC59-ED2A055D4AFE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800" b="0" i="0" baseline="0" dirty="0" err="1">
              <a:solidFill>
                <a:schemeClr val="tx1"/>
              </a:solidFill>
              <a:latin typeface="Pan Display TT" panose="020B0504020101010102" pitchFamily="34" charset="0"/>
              <a:ea typeface="+mj-ea"/>
              <a:cs typeface="+mj-cs"/>
              <a:sym typeface="Pan Display TT" panose="020B0504020101010102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587375" y="442800"/>
            <a:ext cx="11017250" cy="9999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587375" y="1592264"/>
            <a:ext cx="11017250" cy="4392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</a:t>
            </a:r>
          </a:p>
          <a:p>
            <a:pPr lvl="6"/>
            <a:r>
              <a:rPr lang="da-DK" dirty="0"/>
              <a:t>Syvende</a:t>
            </a:r>
          </a:p>
          <a:p>
            <a:pPr lvl="7"/>
            <a:r>
              <a:rPr lang="da-DK" dirty="0"/>
              <a:t>Ottende</a:t>
            </a:r>
          </a:p>
          <a:p>
            <a:pPr lvl="8"/>
            <a:r>
              <a:rPr lang="da-DK" dirty="0"/>
              <a:t>Niende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598848" y="6295436"/>
            <a:ext cx="324000" cy="25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900" b="0">
                <a:solidFill>
                  <a:schemeClr val="tx2"/>
                </a:solidFill>
                <a:latin typeface="+mj-lt"/>
              </a:defRPr>
            </a:lvl1pPr>
          </a:lstStyle>
          <a:p>
            <a:fld id="{667EC89C-17A0-4E64-A6D2-B825673CEEDF}" type="slidenum">
              <a:rPr lang="da-DK" smtClean="0"/>
              <a:pPr/>
              <a:t>‹N°›</a:t>
            </a:fld>
            <a:endParaRPr lang="da-DK" dirty="0"/>
          </a:p>
        </p:txBody>
      </p:sp>
      <p:sp>
        <p:nvSpPr>
          <p:cNvPr id="8" name="Date_DateCustomA"/>
          <p:cNvSpPr>
            <a:spLocks noGrp="1"/>
          </p:cNvSpPr>
          <p:nvPr>
            <p:ph type="dt" sz="half" idx="2"/>
          </p:nvPr>
        </p:nvSpPr>
        <p:spPr>
          <a:xfrm>
            <a:off x="4656138" y="6295436"/>
            <a:ext cx="1152525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>
                <a:solidFill>
                  <a:schemeClr val="tx2"/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31" name="Footer Placeholder 30">
            <a:extLst>
              <a:ext uri="{FF2B5EF4-FFF2-40B4-BE49-F238E27FC236}">
                <a16:creationId xmlns:a16="http://schemas.microsoft.com/office/drawing/2014/main" id="{529225A1-7170-4991-AD9A-C0EBC813D1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22848" y="6295436"/>
            <a:ext cx="3076949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 cap="all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  <a:endParaRPr lang="da-DK" dirty="0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2A2835C-E00C-4E33-835C-9AEB9AD0AEE5}"/>
              </a:ext>
            </a:extLst>
          </p:cNvPr>
          <p:cNvPicPr>
            <a:picLocks noChangeAspect="1"/>
          </p:cNvPicPr>
          <p:nvPr userDrawn="1"/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6963" y="6299067"/>
            <a:ext cx="928800" cy="193541"/>
          </a:xfrm>
          <a:prstGeom prst="rect">
            <a:avLst/>
          </a:prstGeom>
        </p:spPr>
      </p:pic>
      <p:sp>
        <p:nvSpPr>
          <p:cNvPr id="10" name="Footnote [Placeholder]" hidden="1">
            <a:extLst>
              <a:ext uri="{FF2B5EF4-FFF2-40B4-BE49-F238E27FC236}">
                <a16:creationId xmlns:a16="http://schemas.microsoft.com/office/drawing/2014/main" id="{C4DBD01F-B2AE-41F4-B3C8-BD6777E8F35F}"/>
              </a:ext>
            </a:extLst>
          </p:cNvPr>
          <p:cNvSpPr txBox="1">
            <a:spLocks/>
          </p:cNvSpPr>
          <p:nvPr userDrawn="1"/>
        </p:nvSpPr>
        <p:spPr>
          <a:xfrm>
            <a:off x="587375" y="6020190"/>
            <a:ext cx="10872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 dirty="0">
                <a:latin typeface="+mn-lt"/>
              </a:rPr>
              <a:t>(n)</a:t>
            </a:r>
          </a:p>
        </p:txBody>
      </p:sp>
      <p:sp>
        <p:nvSpPr>
          <p:cNvPr id="7" name="Workspace [Presentation]" hidden="1">
            <a:extLst>
              <a:ext uri="{FF2B5EF4-FFF2-40B4-BE49-F238E27FC236}">
                <a16:creationId xmlns:a16="http://schemas.microsoft.com/office/drawing/2014/main" id="{0A8C2C6E-D9E4-4E43-AF0F-9A63B1DAA77F}"/>
              </a:ext>
            </a:extLst>
          </p:cNvPr>
          <p:cNvSpPr/>
          <p:nvPr userDrawn="1"/>
        </p:nvSpPr>
        <p:spPr>
          <a:xfrm>
            <a:off x="587375" y="1592264"/>
            <a:ext cx="11017250" cy="4392612"/>
          </a:xfrm>
          <a:prstGeom prst="rect">
            <a:avLst/>
          </a:prstGeom>
          <a:noFill/>
          <a:ln w="12700">
            <a:solidFill>
              <a:srgbClr val="D24726"/>
            </a:solidFill>
            <a:prstDash val="lgDash"/>
            <a:beve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944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600"/>
        </a:spcBef>
        <a:buSzPct val="8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100000"/>
        </a:lnSpc>
        <a:spcBef>
          <a:spcPts val="600"/>
        </a:spcBef>
        <a:buSzPct val="8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100000"/>
        </a:lnSpc>
        <a:spcBef>
          <a:spcPts val="600"/>
        </a:spcBef>
        <a:buSzPct val="8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144000" algn="l" defTabSz="914400" rtl="0" eaLnBrk="1" latinLnBrk="0" hangingPunct="1">
        <a:lnSpc>
          <a:spcPct val="100000"/>
        </a:lnSpc>
        <a:spcBef>
          <a:spcPts val="600"/>
        </a:spcBef>
        <a:buSzPct val="8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144000" algn="l" defTabSz="914400" rtl="0" eaLnBrk="1" latinLnBrk="0" hangingPunct="1">
        <a:lnSpc>
          <a:spcPct val="100000"/>
        </a:lnSpc>
        <a:spcBef>
          <a:spcPts val="600"/>
        </a:spcBef>
        <a:buSzPct val="8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600"/>
        </a:spcBef>
        <a:buSzPct val="8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576000" indent="-144000" algn="l" defTabSz="914400" rtl="0" eaLnBrk="1" latinLnBrk="0" hangingPunct="1">
        <a:lnSpc>
          <a:spcPct val="100000"/>
        </a:lnSpc>
        <a:spcBef>
          <a:spcPts val="600"/>
        </a:spcBef>
        <a:buSzPct val="8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576000" indent="-144000" algn="l" defTabSz="914400" rtl="0" eaLnBrk="1" latinLnBrk="0" hangingPunct="1">
        <a:lnSpc>
          <a:spcPct val="100000"/>
        </a:lnSpc>
        <a:spcBef>
          <a:spcPts val="600"/>
        </a:spcBef>
        <a:buSzPct val="8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576000" indent="-144000" algn="l" defTabSz="914400" rtl="0" eaLnBrk="1" latinLnBrk="0" hangingPunct="1">
        <a:lnSpc>
          <a:spcPct val="100000"/>
        </a:lnSpc>
        <a:spcBef>
          <a:spcPts val="600"/>
        </a:spcBef>
        <a:buSzPct val="8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370">
          <p15:clr>
            <a:srgbClr val="000000"/>
          </p15:clr>
        </p15:guide>
        <p15:guide id="6" orient="horz" pos="1003">
          <p15:clr>
            <a:srgbClr val="000000"/>
          </p15:clr>
        </p15:guide>
        <p15:guide id="8" orient="horz" pos="3770">
          <p15:clr>
            <a:srgbClr val="000000"/>
          </p15:clr>
        </p15:guide>
        <p15:guide id="9" pos="4021">
          <p15:clr>
            <a:srgbClr val="000000"/>
          </p15:clr>
        </p15:guide>
        <p15:guide id="11" pos="7310">
          <p15:clr>
            <a:srgbClr val="000000"/>
          </p15:clr>
        </p15:guide>
        <p15:guide id="13" orient="horz" pos="278">
          <p15:clr>
            <a:srgbClr val="000000"/>
          </p15:clr>
        </p15:guide>
        <p15:guide id="14" pos="5246">
          <p15:clr>
            <a:srgbClr val="000000"/>
          </p15:clr>
        </p15:guide>
        <p15:guide id="15" pos="4883">
          <p15:clr>
            <a:srgbClr val="000000"/>
          </p15:clr>
        </p15:guide>
        <p15:guide id="16" pos="2797">
          <p15:clr>
            <a:srgbClr val="000000"/>
          </p15:clr>
        </p15:guide>
        <p15:guide id="17" pos="2434">
          <p15:clr>
            <a:srgbClr val="000000"/>
          </p15:clr>
        </p15:guide>
        <p15:guide id="18" pos="3659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microsoft.com/office/2007/relationships/diagramDrawing" Target="../diagrams/drawing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5.xml"/><Relationship Id="rId11" Type="http://schemas.openxmlformats.org/officeDocument/2006/relationships/diagramColors" Target="../diagrams/colors6.xml"/><Relationship Id="rId5" Type="http://schemas.openxmlformats.org/officeDocument/2006/relationships/diagramQuickStyle" Target="../diagrams/quickStyle5.xml"/><Relationship Id="rId10" Type="http://schemas.openxmlformats.org/officeDocument/2006/relationships/diagramQuickStyle" Target="../diagrams/quickStyle6.xml"/><Relationship Id="rId4" Type="http://schemas.openxmlformats.org/officeDocument/2006/relationships/diagramLayout" Target="../diagrams/layout5.xml"/><Relationship Id="rId9" Type="http://schemas.openxmlformats.org/officeDocument/2006/relationships/diagramLayout" Target="../diagrams/layout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8.xml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12" Type="http://schemas.microsoft.com/office/2007/relationships/diagramDrawing" Target="../diagrams/drawing8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11" Type="http://schemas.openxmlformats.org/officeDocument/2006/relationships/diagramColors" Target="../diagrams/colors8.xml"/><Relationship Id="rId5" Type="http://schemas.openxmlformats.org/officeDocument/2006/relationships/diagramQuickStyle" Target="../diagrams/quickStyle7.xml"/><Relationship Id="rId10" Type="http://schemas.openxmlformats.org/officeDocument/2006/relationships/diagramQuickStyle" Target="../diagrams/quickStyle8.xml"/><Relationship Id="rId4" Type="http://schemas.openxmlformats.org/officeDocument/2006/relationships/diagramLayout" Target="../diagrams/layout7.xml"/><Relationship Id="rId9" Type="http://schemas.openxmlformats.org/officeDocument/2006/relationships/diagramLayout" Target="../diagrams/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0.xml"/><Relationship Id="rId5" Type="http://schemas.openxmlformats.org/officeDocument/2006/relationships/diagramQuickStyle" Target="../diagrams/quickStyle10.xml"/><Relationship Id="rId4" Type="http://schemas.openxmlformats.org/officeDocument/2006/relationships/diagramLayout" Target="../diagrams/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1.xml"/><Relationship Id="rId3" Type="http://schemas.openxmlformats.org/officeDocument/2006/relationships/hyperlink" Target="https://globalwellnessinstitute.org/initiatives/wellness-at-work-initiative/wellness-at-work-initiative-resources/" TargetMode="External"/><Relationship Id="rId7" Type="http://schemas.openxmlformats.org/officeDocument/2006/relationships/diagramColors" Target="../diagrams/colors1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1.xml"/><Relationship Id="rId5" Type="http://schemas.openxmlformats.org/officeDocument/2006/relationships/diagramLayout" Target="../diagrams/layout11.xml"/><Relationship Id="rId4" Type="http://schemas.openxmlformats.org/officeDocument/2006/relationships/diagramData" Target="../diagrams/data11.xml"/><Relationship Id="rId9" Type="http://schemas.openxmlformats.org/officeDocument/2006/relationships/image" Target="../media/image27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mailto:ekocher@whealthness.ch" TargetMode="External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jpeg"/><Relationship Id="rId5" Type="http://schemas.openxmlformats.org/officeDocument/2006/relationships/image" Target="../media/image28.png"/><Relationship Id="rId4" Type="http://schemas.openxmlformats.org/officeDocument/2006/relationships/hyperlink" Target="http://www.whealthness.ch/" TargetMode="Externa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ho.int/news/item/28-05-2019-burn-out-an-occupational-phenomenon-international-classification-of-diseases" TargetMode="External"/><Relationship Id="rId13" Type="http://schemas.openxmlformats.org/officeDocument/2006/relationships/hyperlink" Target="https://gesundheitsfoerderung.ch/assets/public/documents/en/5-grundlagen/publikationen/bgm/berichte/Report_007_HPS_2018-11_-_WHM_-_Principles_and_Trends.pdf" TargetMode="External"/><Relationship Id="rId18" Type="http://schemas.openxmlformats.org/officeDocument/2006/relationships/hyperlink" Target="https://www.gallup.com/workplace/236366/right-culture-not-employee-satisfaction.aspx" TargetMode="External"/><Relationship Id="rId3" Type="http://schemas.openxmlformats.org/officeDocument/2006/relationships/hyperlink" Target="https://hrexecutive.com/heres-how-employers-are-changing-benefits-due-to-covid-19/" TargetMode="External"/><Relationship Id="rId21" Type="http://schemas.openxmlformats.org/officeDocument/2006/relationships/hyperlink" Target="https://www.wellright.com/" TargetMode="External"/><Relationship Id="rId7" Type="http://schemas.openxmlformats.org/officeDocument/2006/relationships/hyperlink" Target="https://www.workplaceoptions.com/blog/burnout-a-new-definition-for-a-global-issue/" TargetMode="External"/><Relationship Id="rId12" Type="http://schemas.openxmlformats.org/officeDocument/2006/relationships/hyperlink" Target="https://promotionsante.ch/qui-sommes-nous/medias/communiques-de-presse/article/job-stress-index-2020.html" TargetMode="External"/><Relationship Id="rId17" Type="http://schemas.openxmlformats.org/officeDocument/2006/relationships/hyperlink" Target="https://www.virginpulse.com/press/2017-state-industry-survey-results-reveal-wellbeing-key-driver-workplace-culture-employee-engagement/" TargetMode="External"/><Relationship Id="rId2" Type="http://schemas.openxmlformats.org/officeDocument/2006/relationships/notesSlide" Target="../notesSlides/notesSlide18.xml"/><Relationship Id="rId16" Type="http://schemas.openxmlformats.org/officeDocument/2006/relationships/hyperlink" Target="https://www.limeade.com/wp-content/uploads/2016/11/QW-LimeadeWellBeingEngagementReport-final.pdf" TargetMode="External"/><Relationship Id="rId20" Type="http://schemas.openxmlformats.org/officeDocument/2006/relationships/hyperlink" Target="https://www.ncbi.nlm.nih.gov/pmc/articles/PMC4822264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academic.oup.com/annweh/article/62/4/389/4956148/" TargetMode="External"/><Relationship Id="rId11" Type="http://schemas.openxmlformats.org/officeDocument/2006/relationships/hyperlink" Target="https://www.independent.co.uk/life-style/work-burnout-men-women-positions-power-self-esteem-family-balance-study-montreal-a8377096.html" TargetMode="External"/><Relationship Id="rId5" Type="http://schemas.openxmlformats.org/officeDocument/2006/relationships/hyperlink" Target="https://www.weforum.org/agenda/2019/10/burnout-mental-health-pandemic/" TargetMode="External"/><Relationship Id="rId15" Type="http://schemas.openxmlformats.org/officeDocument/2006/relationships/hyperlink" Target="https://www.mercer.us/our-thinking/healthcare/the-surprisingly-strong-connection-between-well-being-and-turnover.html" TargetMode="External"/><Relationship Id="rId23" Type="http://schemas.openxmlformats.org/officeDocument/2006/relationships/hyperlink" Target="https://www.ncbi.nlm.nih.gov/pmc/articles/PMC7338126/" TargetMode="External"/><Relationship Id="rId10" Type="http://schemas.openxmlformats.org/officeDocument/2006/relationships/hyperlink" Target="https://www2.deloitte.com/us/en/pages/about-deloitte/articles/burnout-survey.html" TargetMode="External"/><Relationship Id="rId19" Type="http://schemas.openxmlformats.org/officeDocument/2006/relationships/hyperlink" Target="https://intelligence.weforum.org/topics/a1Gb0000000LHRxEAO?tab=publications" TargetMode="External"/><Relationship Id="rId4" Type="http://schemas.openxmlformats.org/officeDocument/2006/relationships/hyperlink" Target="https://www.gallup.com/workplace/237059/employee-burnout-part-main-causes.aspx" TargetMode="External"/><Relationship Id="rId9" Type="http://schemas.openxmlformats.org/officeDocument/2006/relationships/hyperlink" Target="https://www.ehstoday.com/health/article/21916768/euosha-addresses-workplace-stress-in-new-eguide" TargetMode="External"/><Relationship Id="rId14" Type="http://schemas.openxmlformats.org/officeDocument/2006/relationships/hyperlink" Target="https://www.gallup.com/workplace/247391/fixable-problem-costs-businesses-trillion.aspx" TargetMode="External"/><Relationship Id="rId22" Type="http://schemas.openxmlformats.org/officeDocument/2006/relationships/hyperlink" Target="https://connect.virginpulse.com/files/Whitepaper_Wellbeing_By_the_Generations.pdf" TargetMode="Externa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microsoft.com/office/2007/relationships/hdphoto" Target="../media/hdphoto1.wdp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6F828D28-8E09-41CC-8229-3070B5467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Video 4">
            <a:extLst>
              <a:ext uri="{FF2B5EF4-FFF2-40B4-BE49-F238E27FC236}">
                <a16:creationId xmlns:a16="http://schemas.microsoft.com/office/drawing/2014/main" id="{AE1BEA42-BB4A-F7EE-1686-107D68B79E1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284" r="-1" b="-1"/>
          <a:stretch/>
        </p:blipFill>
        <p:spPr>
          <a:xfrm>
            <a:off x="20" y="-22"/>
            <a:ext cx="12191977" cy="6858022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5B012D8-7F27-4758-9AC6-C889B154BD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103377" y="1100316"/>
            <a:ext cx="6858003" cy="4657347"/>
          </a:xfrm>
          <a:prstGeom prst="rect">
            <a:avLst/>
          </a:prstGeom>
          <a:gradFill flip="none" rotWithShape="1">
            <a:gsLst>
              <a:gs pos="48000">
                <a:srgbClr val="000000">
                  <a:alpha val="24000"/>
                </a:srgbClr>
              </a:gs>
              <a:gs pos="85000">
                <a:srgbClr val="000000">
                  <a:alpha val="45000"/>
                </a:srgbClr>
              </a:gs>
              <a:gs pos="0">
                <a:srgbClr val="000000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3C2CB0-FAB8-CC4C-9465-B60A79CE671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3466" y="5389417"/>
            <a:ext cx="5449479" cy="739673"/>
          </a:xfrm>
        </p:spPr>
        <p:txBody>
          <a:bodyPr anchor="b">
            <a:normAutofit/>
          </a:bodyPr>
          <a:lstStyle/>
          <a:p>
            <a:pPr algn="l"/>
            <a:r>
              <a:rPr lang="en-CH" dirty="0">
                <a:solidFill>
                  <a:srgbClr val="FFFFFF"/>
                </a:solidFill>
              </a:rPr>
              <a:t>Ellen Koch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63B759-00FC-46D1-9898-8E8625268F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40187" y="2206184"/>
            <a:ext cx="6858003" cy="2445624"/>
          </a:xfrm>
          <a:prstGeom prst="rect">
            <a:avLst/>
          </a:prstGeom>
          <a:gradFill flip="none" rotWithShape="1">
            <a:gsLst>
              <a:gs pos="48000">
                <a:srgbClr val="000000">
                  <a:alpha val="24000"/>
                </a:srgbClr>
              </a:gs>
              <a:gs pos="85000">
                <a:srgbClr val="000000">
                  <a:alpha val="45000"/>
                </a:srgbClr>
              </a:gs>
              <a:gs pos="0">
                <a:srgbClr val="000000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id="{C9F138E9-007C-180C-4C83-9984D384ABE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1871" y="4728588"/>
            <a:ext cx="4771977" cy="242636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E9CB569-FA69-0D44-B00F-9907CDA61B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211" y="1499370"/>
            <a:ext cx="12102790" cy="2338339"/>
          </a:xfrm>
        </p:spPr>
        <p:txBody>
          <a:bodyPr anchor="ctr">
            <a:noAutofit/>
          </a:bodyPr>
          <a:lstStyle/>
          <a:p>
            <a:pPr algn="l"/>
            <a:r>
              <a:rPr lang="en-GB" sz="5400" dirty="0">
                <a:solidFill>
                  <a:schemeClr val="bg1"/>
                </a:solidFill>
              </a:rPr>
              <a:t>Bien-</a:t>
            </a:r>
            <a:r>
              <a:rPr lang="en-GB" sz="5400" dirty="0" err="1">
                <a:solidFill>
                  <a:schemeClr val="bg1"/>
                </a:solidFill>
              </a:rPr>
              <a:t>Être</a:t>
            </a:r>
            <a:r>
              <a:rPr lang="en-GB" sz="5400" dirty="0">
                <a:solidFill>
                  <a:schemeClr val="bg1"/>
                </a:solidFill>
              </a:rPr>
              <a:t> au travail 2023 :</a:t>
            </a:r>
            <a:br>
              <a:rPr lang="en-GB" sz="5400" dirty="0">
                <a:solidFill>
                  <a:schemeClr val="bg1"/>
                </a:solidFill>
              </a:rPr>
            </a:br>
            <a:r>
              <a:rPr lang="en-GB" sz="4800" dirty="0">
                <a:solidFill>
                  <a:schemeClr val="bg1"/>
                </a:solidFill>
              </a:rPr>
              <a:t>Tendances — Business Case — Solutions</a:t>
            </a:r>
            <a:r>
              <a:rPr lang="en-GB" sz="5400" dirty="0">
                <a:solidFill>
                  <a:schemeClr val="bg1"/>
                </a:solidFill>
              </a:rPr>
              <a:t>
</a:t>
            </a:r>
            <a:endParaRPr lang="en-CH" sz="5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18497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16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5E6CFF1-2F42-4E10-9A97-F116F46F53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Blocks with facial expressions">
            <a:extLst>
              <a:ext uri="{FF2B5EF4-FFF2-40B4-BE49-F238E27FC236}">
                <a16:creationId xmlns:a16="http://schemas.microsoft.com/office/drawing/2014/main" id="{CEB9FADF-0551-1C43-87C5-668A93AFB7C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A3A3A89-7183-8F45-A337-0C5A25C50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1065862"/>
            <a:ext cx="3313164" cy="4726276"/>
          </a:xfrm>
        </p:spPr>
        <p:txBody>
          <a:bodyPr>
            <a:normAutofit fontScale="90000"/>
          </a:bodyPr>
          <a:lstStyle/>
          <a:p>
            <a:pPr algn="r"/>
            <a:r>
              <a:rPr lang="en-GB" sz="3600" i="1" dirty="0"/>
              <a:t>“La </a:t>
            </a:r>
            <a:r>
              <a:rPr lang="en-GB" sz="3600" i="1" dirty="0" err="1"/>
              <a:t>pandémie</a:t>
            </a:r>
            <a:r>
              <a:rPr lang="en-GB" sz="3600" i="1" dirty="0"/>
              <a:t> nous a </a:t>
            </a:r>
            <a:r>
              <a:rPr lang="en-GB" sz="3600" i="1" dirty="0" err="1"/>
              <a:t>montré</a:t>
            </a:r>
            <a:r>
              <a:rPr lang="en-GB" sz="3600" i="1" dirty="0"/>
              <a:t> </a:t>
            </a:r>
            <a:r>
              <a:rPr lang="en-GB" sz="3600" i="1" dirty="0" err="1"/>
              <a:t>à</a:t>
            </a:r>
            <a:r>
              <a:rPr lang="en-GB" sz="3600" i="1" dirty="0"/>
              <a:t> </a:t>
            </a:r>
            <a:r>
              <a:rPr lang="en-GB" sz="3600" i="1" dirty="0" err="1"/>
              <a:t>quel</a:t>
            </a:r>
            <a:r>
              <a:rPr lang="en-GB" sz="3600" i="1" dirty="0"/>
              <a:t> point il </a:t>
            </a:r>
            <a:r>
              <a:rPr lang="en-GB" sz="3600" i="1" dirty="0" err="1"/>
              <a:t>est</a:t>
            </a:r>
            <a:r>
              <a:rPr lang="en-GB" sz="3600" i="1" dirty="0"/>
              <a:t> important de </a:t>
            </a:r>
            <a:r>
              <a:rPr lang="en-GB" sz="3600" i="1" dirty="0" err="1"/>
              <a:t>soutenir</a:t>
            </a:r>
            <a:r>
              <a:rPr lang="en-GB" sz="3600" i="1" dirty="0"/>
              <a:t> non </a:t>
            </a:r>
            <a:r>
              <a:rPr lang="en-GB" sz="3600" i="1" dirty="0" err="1"/>
              <a:t>seulement</a:t>
            </a:r>
            <a:r>
              <a:rPr lang="en-GB" sz="3600" i="1" dirty="0"/>
              <a:t> la </a:t>
            </a:r>
            <a:r>
              <a:rPr lang="en-GB" sz="3600" i="1" dirty="0" err="1"/>
              <a:t>santé</a:t>
            </a:r>
            <a:r>
              <a:rPr lang="en-GB" sz="3600" i="1" dirty="0"/>
              <a:t> physique, </a:t>
            </a:r>
            <a:r>
              <a:rPr lang="en-GB" sz="3600" i="1" dirty="0" err="1"/>
              <a:t>mais</a:t>
            </a:r>
            <a:r>
              <a:rPr lang="en-GB" sz="3600" i="1" dirty="0"/>
              <a:t> </a:t>
            </a:r>
            <a:r>
              <a:rPr lang="en-GB" sz="3600" i="1" dirty="0" err="1"/>
              <a:t>aussi</a:t>
            </a:r>
            <a:r>
              <a:rPr lang="en-GB" sz="3600" i="1" dirty="0"/>
              <a:t> la </a:t>
            </a:r>
            <a:r>
              <a:rPr lang="en-GB" sz="3600" i="1" dirty="0" err="1"/>
              <a:t>santé</a:t>
            </a:r>
            <a:r>
              <a:rPr lang="en-GB" sz="3600" i="1" dirty="0"/>
              <a:t> </a:t>
            </a:r>
            <a:r>
              <a:rPr lang="en-GB" sz="3600" i="1" dirty="0" err="1"/>
              <a:t>mentale</a:t>
            </a:r>
            <a:r>
              <a:rPr lang="en-GB" sz="3600" i="1" dirty="0"/>
              <a:t>.”</a:t>
            </a:r>
            <a:br>
              <a:rPr lang="en-GB" sz="3600" i="1" dirty="0"/>
            </a:br>
            <a:r>
              <a:rPr lang="en-GB" sz="2200" i="1" dirty="0"/>
              <a:t>(Forbes, March 2022)</a:t>
            </a:r>
            <a:endParaRPr lang="en-CH" sz="2200" i="1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7182200-4859-4C8D-BCBB-55B245C28B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3372" y="2286000"/>
            <a:ext cx="0" cy="2286000"/>
          </a:xfrm>
          <a:prstGeom prst="line">
            <a:avLst/>
          </a:prstGeom>
          <a:ln w="1587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DA7D96D-C66B-401D-A074-CFC1C5C7C6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5379" y="1065862"/>
            <a:ext cx="5744685" cy="4726276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GB" sz="3200" dirty="0">
                <a:solidFill>
                  <a:srgbClr val="FFFFFF"/>
                </a:solidFill>
              </a:rPr>
              <a:t>Stress – </a:t>
            </a:r>
            <a:r>
              <a:rPr lang="en-GB" sz="3200" dirty="0" err="1">
                <a:solidFill>
                  <a:srgbClr val="FFFFFF"/>
                </a:solidFill>
              </a:rPr>
              <a:t>Anxieté</a:t>
            </a:r>
            <a:r>
              <a:rPr lang="en-GB" sz="3200" dirty="0">
                <a:solidFill>
                  <a:srgbClr val="FFFFFF"/>
                </a:solidFill>
              </a:rPr>
              <a:t> – </a:t>
            </a:r>
            <a:r>
              <a:rPr lang="en-GB" sz="3200" dirty="0" err="1">
                <a:solidFill>
                  <a:srgbClr val="FFFFFF"/>
                </a:solidFill>
              </a:rPr>
              <a:t>Dépression</a:t>
            </a:r>
            <a:endParaRPr lang="en-GB" sz="3200" dirty="0">
              <a:solidFill>
                <a:srgbClr val="FFFFFF"/>
              </a:solidFill>
            </a:endParaRPr>
          </a:p>
          <a:p>
            <a:pPr marL="0" indent="0">
              <a:buNone/>
            </a:pPr>
            <a:endParaRPr lang="en-GB" sz="2000" b="1" dirty="0">
              <a:solidFill>
                <a:srgbClr val="FFFFFF"/>
              </a:solidFill>
            </a:endParaRPr>
          </a:p>
          <a:p>
            <a:pPr marL="0" indent="0" algn="ctr">
              <a:buNone/>
            </a:pPr>
            <a:r>
              <a:rPr lang="en-GB" sz="8000" b="1" dirty="0">
                <a:solidFill>
                  <a:srgbClr val="FFFFFF"/>
                </a:solidFill>
              </a:rPr>
              <a:t>70 – 80 %</a:t>
            </a:r>
          </a:p>
          <a:p>
            <a:pPr marL="0" indent="0" algn="ctr">
              <a:buNone/>
            </a:pPr>
            <a:r>
              <a:rPr lang="en-GB" sz="4000" b="1" dirty="0">
                <a:solidFill>
                  <a:srgbClr val="FFFFFF"/>
                </a:solidFill>
              </a:rPr>
              <a:t>Femmes &gt; Hommes</a:t>
            </a:r>
            <a:endParaRPr lang="en-US" sz="4000" dirty="0">
              <a:solidFill>
                <a:srgbClr val="FFFFFF"/>
              </a:solidFill>
            </a:endParaRPr>
          </a:p>
          <a:p>
            <a:endParaRPr lang="en-US" sz="2000" i="1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7923F4-8C7F-0C4E-A064-061C52BE2C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53254" y="6356350"/>
            <a:ext cx="900545" cy="365125"/>
          </a:xfrm>
        </p:spPr>
        <p:txBody>
          <a:bodyPr vert="horz" lIns="0" tIns="0" rIns="0" bIns="0" rtlCol="0" anchorCtr="0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667EC89C-17A0-4E64-A6D2-B825673CEEDF}" type="slidenum">
              <a:rPr kumimoji="0" lang="da-DK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an Display TT"/>
                <a:ea typeface="+mn-ea"/>
                <a:cs typeface="+mn-cs"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an Display T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4035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1" descr="Fire and smoke">
            <a:extLst>
              <a:ext uri="{FF2B5EF4-FFF2-40B4-BE49-F238E27FC236}">
                <a16:creationId xmlns:a16="http://schemas.microsoft.com/office/drawing/2014/main" id="{342AB30A-01ED-247F-F20E-F6CD5C2E471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4147794-66B7-4CDE-BC75-BBDC48B2F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59481" y="0"/>
            <a:ext cx="7718119" cy="6858000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Schoolbook" panose="020406040505050203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FDCD1E-B8F5-0042-8E48-2EEB037417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0889" y="365758"/>
            <a:ext cx="6784259" cy="1828800"/>
          </a:xfrm>
        </p:spPr>
        <p:txBody>
          <a:bodyPr>
            <a:normAutofit fontScale="90000"/>
          </a:bodyPr>
          <a:lstStyle/>
          <a:p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19: L’OMS a </a:t>
            </a:r>
            <a:r>
              <a:rPr lang="en-GB" sz="32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ajouté</a:t>
            </a: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GB" sz="32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l’épuisement</a:t>
            </a: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GB" sz="32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professionnel</a:t>
            </a: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(burnout) </a:t>
            </a:r>
            <a:r>
              <a:rPr lang="en-GB" sz="32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à</a:t>
            </a: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la </a:t>
            </a:r>
            <a:r>
              <a:rPr lang="en-GB" sz="32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liste</a:t>
            </a: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des maladies </a:t>
            </a:r>
            <a:r>
              <a:rPr lang="en-GB" sz="32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mondialement</a:t>
            </a: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GB" sz="32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reconnues</a:t>
            </a:r>
            <a:endParaRPr lang="en-CH" sz="3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91D417-3B57-FC44-B0F9-A334B31D3C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50890" y="2029522"/>
            <a:ext cx="6927852" cy="4691953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400"/>
              </a:spcBef>
              <a:buNone/>
            </a:pPr>
            <a:r>
              <a:rPr lang="en-GB" sz="1400" b="1" dirty="0"/>
              <a:t>Oxford Academic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GB" sz="1400" dirty="0"/>
              <a:t>Les </a:t>
            </a:r>
            <a:r>
              <a:rPr lang="en-GB" sz="1400" b="1" dirty="0"/>
              <a:t>femmes</a:t>
            </a:r>
            <a:r>
              <a:rPr lang="en-GB" sz="1400" dirty="0"/>
              <a:t> </a:t>
            </a:r>
            <a:r>
              <a:rPr lang="en-GB" sz="1400" dirty="0" err="1"/>
              <a:t>sont</a:t>
            </a:r>
            <a:r>
              <a:rPr lang="en-GB" sz="1400" dirty="0"/>
              <a:t> plus </a:t>
            </a:r>
            <a:r>
              <a:rPr lang="en-GB" sz="1400" dirty="0" err="1"/>
              <a:t>susceptibles</a:t>
            </a:r>
            <a:r>
              <a:rPr lang="en-GB" sz="1400" dirty="0"/>
              <a:t> de </a:t>
            </a:r>
            <a:r>
              <a:rPr lang="en-GB" sz="1400" dirty="0" err="1"/>
              <a:t>souffrir</a:t>
            </a:r>
            <a:r>
              <a:rPr lang="en-GB" sz="1400" dirty="0"/>
              <a:t> </a:t>
            </a:r>
            <a:r>
              <a:rPr lang="en-GB" sz="1400" dirty="0" err="1"/>
              <a:t>d’épuisement</a:t>
            </a:r>
            <a:r>
              <a:rPr lang="en-GB" sz="1400" dirty="0"/>
              <a:t> </a:t>
            </a:r>
            <a:r>
              <a:rPr lang="en-GB" sz="1400" dirty="0" err="1"/>
              <a:t>professionnel</a:t>
            </a:r>
            <a:r>
              <a:rPr lang="en-GB" sz="1400" dirty="0"/>
              <a:t> 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buNone/>
            </a:pPr>
            <a:r>
              <a:rPr lang="en-GB" sz="1400" b="1" dirty="0"/>
              <a:t>Gallup</a:t>
            </a:r>
            <a:endParaRPr lang="en-GB" sz="140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GB" sz="1400" dirty="0"/>
              <a:t>23% des </a:t>
            </a:r>
            <a:r>
              <a:rPr lang="en-GB" sz="1400" dirty="0" err="1"/>
              <a:t>employés</a:t>
            </a:r>
            <a:r>
              <a:rPr lang="en-GB" sz="1400" dirty="0"/>
              <a:t> se </a:t>
            </a:r>
            <a:r>
              <a:rPr lang="en-GB" sz="1400" dirty="0" err="1"/>
              <a:t>sentent</a:t>
            </a:r>
            <a:r>
              <a:rPr lang="en-GB" sz="1400" dirty="0"/>
              <a:t> </a:t>
            </a:r>
            <a:r>
              <a:rPr lang="en-GB" sz="1400" dirty="0" err="1"/>
              <a:t>épuisés</a:t>
            </a:r>
            <a:r>
              <a:rPr lang="en-GB" sz="1400" dirty="0"/>
              <a:t> au travail très </a:t>
            </a:r>
            <a:r>
              <a:rPr lang="en-GB" sz="1400" dirty="0" err="1"/>
              <a:t>souvent</a:t>
            </a:r>
            <a:r>
              <a:rPr lang="en-GB" sz="1400" dirty="0"/>
              <a:t> </a:t>
            </a:r>
            <a:r>
              <a:rPr lang="en-GB" sz="1400" dirty="0" err="1"/>
              <a:t>ou</a:t>
            </a:r>
            <a:r>
              <a:rPr lang="en-GB" sz="1400" dirty="0"/>
              <a:t> </a:t>
            </a:r>
            <a:r>
              <a:rPr lang="en-GB" sz="1400" dirty="0" err="1"/>
              <a:t>toujours</a:t>
            </a:r>
            <a:r>
              <a:rPr lang="en-GB" sz="1400" dirty="0"/>
              <a:t>
44 % </a:t>
            </a:r>
            <a:r>
              <a:rPr lang="en-GB" sz="1400" dirty="0" err="1"/>
              <a:t>parfois</a:t>
            </a:r>
            <a:r>
              <a:rPr lang="en-GB" sz="1400" dirty="0"/>
              <a:t>
</a:t>
            </a:r>
            <a:r>
              <a:rPr lang="en-GB" sz="1400" dirty="0" err="1"/>
              <a:t>Employés</a:t>
            </a:r>
            <a:r>
              <a:rPr lang="en-GB" sz="1400" dirty="0"/>
              <a:t> </a:t>
            </a:r>
            <a:r>
              <a:rPr lang="en-GB" sz="1400" dirty="0" err="1"/>
              <a:t>épuisés</a:t>
            </a:r>
            <a:r>
              <a:rPr lang="en-GB" sz="1400" dirty="0"/>
              <a:t> 63 % plus </a:t>
            </a:r>
            <a:r>
              <a:rPr lang="en-GB" sz="1400" dirty="0" err="1"/>
              <a:t>susceptibles</a:t>
            </a:r>
            <a:r>
              <a:rPr lang="en-GB" sz="1400" dirty="0"/>
              <a:t> de prendre un congé de </a:t>
            </a:r>
            <a:r>
              <a:rPr lang="en-GB" sz="1400" dirty="0" err="1"/>
              <a:t>maladie</a:t>
            </a:r>
            <a:r>
              <a:rPr lang="en-GB" sz="1400" dirty="0"/>
              <a:t>, 23 % plus </a:t>
            </a:r>
            <a:r>
              <a:rPr lang="en-GB" sz="1400" dirty="0" err="1"/>
              <a:t>susceptibles</a:t>
            </a:r>
            <a:r>
              <a:rPr lang="en-GB" sz="1400" dirty="0"/>
              <a:t> de se </a:t>
            </a:r>
            <a:r>
              <a:rPr lang="en-GB" sz="1400" dirty="0" err="1"/>
              <a:t>rendre</a:t>
            </a:r>
            <a:r>
              <a:rPr lang="en-GB" sz="1400" dirty="0"/>
              <a:t> aux urgences de </a:t>
            </a:r>
            <a:r>
              <a:rPr lang="en-GB" sz="1400" dirty="0" err="1"/>
              <a:t>l’hôpital</a:t>
            </a:r>
            <a:endParaRPr lang="en-GB" sz="1400" dirty="0"/>
          </a:p>
          <a:p>
            <a:pPr marL="0" indent="0">
              <a:lnSpc>
                <a:spcPct val="100000"/>
              </a:lnSpc>
              <a:spcBef>
                <a:spcPts val="400"/>
              </a:spcBef>
              <a:buNone/>
            </a:pPr>
            <a:r>
              <a:rPr lang="en-GB" sz="1400" b="1" dirty="0"/>
              <a:t>Deloitte</a:t>
            </a:r>
            <a:endParaRPr lang="en-GB" sz="140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GB" sz="1400" dirty="0"/>
              <a:t>84 % des “</a:t>
            </a:r>
            <a:r>
              <a:rPr lang="en-GB" sz="1400" dirty="0" err="1"/>
              <a:t>milléniaux</a:t>
            </a:r>
            <a:r>
              <a:rPr lang="en-GB" sz="1400" dirty="0"/>
              <a:t>” </a:t>
            </a:r>
            <a:r>
              <a:rPr lang="en-GB" sz="1400" dirty="0" err="1"/>
              <a:t>ont</a:t>
            </a:r>
            <a:r>
              <a:rPr lang="en-GB" sz="1400" dirty="0"/>
              <a:t> </a:t>
            </a:r>
            <a:r>
              <a:rPr lang="en-GB" sz="1400" dirty="0" err="1"/>
              <a:t>connu</a:t>
            </a:r>
            <a:r>
              <a:rPr lang="en-GB" sz="1400" dirty="0"/>
              <a:t> un </a:t>
            </a:r>
            <a:r>
              <a:rPr lang="en-GB" sz="1400" dirty="0" err="1"/>
              <a:t>épuisement</a:t>
            </a:r>
            <a:r>
              <a:rPr lang="en-GB" sz="1400" dirty="0"/>
              <a:t> </a:t>
            </a:r>
            <a:r>
              <a:rPr lang="en-GB" sz="1400" dirty="0" err="1"/>
              <a:t>professionnel</a:t>
            </a:r>
            <a:r>
              <a:rPr lang="en-GB" sz="1400" dirty="0"/>
              <a:t> dans </a:t>
            </a:r>
            <a:r>
              <a:rPr lang="en-GB" sz="1400" dirty="0" err="1"/>
              <a:t>leur</a:t>
            </a:r>
            <a:r>
              <a:rPr lang="en-GB" sz="1400" dirty="0"/>
              <a:t> </a:t>
            </a:r>
            <a:r>
              <a:rPr lang="en-GB" sz="1400" dirty="0" err="1"/>
              <a:t>emploi</a:t>
            </a:r>
            <a:r>
              <a:rPr lang="en-GB" sz="1400" dirty="0"/>
              <a:t> </a:t>
            </a:r>
            <a:r>
              <a:rPr lang="en-GB" sz="1400" dirty="0" err="1"/>
              <a:t>actuel</a:t>
            </a:r>
            <a:endParaRPr lang="en-GB" sz="1400" dirty="0"/>
          </a:p>
          <a:p>
            <a:pPr marL="0" indent="0">
              <a:lnSpc>
                <a:spcPct val="100000"/>
              </a:lnSpc>
              <a:spcBef>
                <a:spcPts val="400"/>
              </a:spcBef>
              <a:buNone/>
            </a:pPr>
            <a:r>
              <a:rPr lang="en-GB" sz="1400" b="1" dirty="0"/>
              <a:t>OSHA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1400" dirty="0"/>
              <a:t>&gt;50 % de </a:t>
            </a:r>
            <a:r>
              <a:rPr lang="en-US" sz="1400" dirty="0" err="1"/>
              <a:t>tous</a:t>
            </a:r>
            <a:r>
              <a:rPr lang="en-US" sz="1400" dirty="0"/>
              <a:t> les </a:t>
            </a:r>
            <a:r>
              <a:rPr lang="en-US" sz="1400" dirty="0" err="1"/>
              <a:t>travailleurs</a:t>
            </a:r>
            <a:r>
              <a:rPr lang="en-US" sz="1400" dirty="0"/>
              <a:t> de </a:t>
            </a:r>
            <a:r>
              <a:rPr lang="en-US" sz="1400" dirty="0" err="1"/>
              <a:t>l’UE</a:t>
            </a:r>
            <a:r>
              <a:rPr lang="en-US" sz="1400" dirty="0"/>
              <a:t> </a:t>
            </a:r>
            <a:r>
              <a:rPr lang="en-US" sz="1400" dirty="0" err="1"/>
              <a:t>déclarent</a:t>
            </a:r>
            <a:r>
              <a:rPr lang="en-US" sz="1400" dirty="0"/>
              <a:t> que le stress </a:t>
            </a:r>
            <a:r>
              <a:rPr lang="en-US" sz="1400" dirty="0" err="1"/>
              <a:t>lié</a:t>
            </a:r>
            <a:r>
              <a:rPr lang="en-US" sz="1400" dirty="0"/>
              <a:t> au travail </a:t>
            </a:r>
            <a:r>
              <a:rPr lang="en-US" sz="1400" dirty="0" err="1"/>
              <a:t>est</a:t>
            </a:r>
            <a:r>
              <a:rPr lang="en-US" sz="1400" dirty="0"/>
              <a:t> </a:t>
            </a:r>
            <a:r>
              <a:rPr lang="en-US" sz="1400" dirty="0" err="1"/>
              <a:t>commun</a:t>
            </a:r>
            <a:endParaRPr lang="en-US" sz="140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1400" dirty="0"/>
              <a:t>&gt; la </a:t>
            </a:r>
            <a:r>
              <a:rPr lang="en-US" sz="1400" dirty="0" err="1"/>
              <a:t>moitié</a:t>
            </a:r>
            <a:r>
              <a:rPr lang="en-US" sz="1400" dirty="0"/>
              <a:t> des </a:t>
            </a:r>
            <a:r>
              <a:rPr lang="en-US" sz="1400" dirty="0" err="1"/>
              <a:t>journées</a:t>
            </a:r>
            <a:r>
              <a:rPr lang="en-US" sz="1400" dirty="0"/>
              <a:t> de travail perdues </a:t>
            </a:r>
            <a:r>
              <a:rPr lang="en-US" sz="1400" dirty="0" err="1"/>
              <a:t>en</a:t>
            </a:r>
            <a:r>
              <a:rPr lang="en-US" sz="1400" dirty="0"/>
              <a:t> raison du stress </a:t>
            </a:r>
            <a:r>
              <a:rPr lang="en-US" sz="1400" dirty="0" err="1"/>
              <a:t>lié</a:t>
            </a:r>
            <a:r>
              <a:rPr lang="en-US" sz="1400" dirty="0"/>
              <a:t> au travail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1400" dirty="0"/>
              <a:t>4 / 5 des managers se </a:t>
            </a:r>
            <a:r>
              <a:rPr lang="en-US" sz="1400" dirty="0" err="1"/>
              <a:t>disent</a:t>
            </a:r>
            <a:r>
              <a:rPr lang="en-US" sz="1400" dirty="0"/>
              <a:t> </a:t>
            </a:r>
            <a:r>
              <a:rPr lang="en-US" sz="1400" dirty="0" err="1"/>
              <a:t>préoccupés</a:t>
            </a:r>
            <a:r>
              <a:rPr lang="en-US" sz="1400" dirty="0"/>
              <a:t> par le stress </a:t>
            </a:r>
            <a:r>
              <a:rPr lang="en-US" sz="1400" dirty="0" err="1"/>
              <a:t>lié</a:t>
            </a:r>
            <a:r>
              <a:rPr lang="en-US" sz="1400" dirty="0"/>
              <a:t> au travail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GB" sz="1400" dirty="0"/>
              <a:t>Le stress </a:t>
            </a:r>
            <a:r>
              <a:rPr lang="en-GB" sz="1400" dirty="0" err="1"/>
              <a:t>est</a:t>
            </a:r>
            <a:r>
              <a:rPr lang="en-GB" sz="1400" dirty="0"/>
              <a:t> la </a:t>
            </a:r>
            <a:r>
              <a:rPr lang="en-GB" sz="1400" dirty="0" err="1"/>
              <a:t>principale</a:t>
            </a:r>
            <a:r>
              <a:rPr lang="en-GB" sz="1400" dirty="0"/>
              <a:t> cause </a:t>
            </a:r>
            <a:r>
              <a:rPr lang="en-GB" sz="1400" dirty="0" err="1"/>
              <a:t>d’épuisement</a:t>
            </a:r>
            <a:r>
              <a:rPr lang="en-GB" sz="1400" dirty="0"/>
              <a:t> </a:t>
            </a:r>
            <a:r>
              <a:rPr lang="en-GB" sz="1400" dirty="0" err="1"/>
              <a:t>professionnel</a:t>
            </a:r>
            <a:r>
              <a:rPr lang="en-GB" sz="1400" dirty="0"/>
              <a:t> et de </a:t>
            </a:r>
            <a:r>
              <a:rPr lang="en-GB" sz="1400" dirty="0" err="1"/>
              <a:t>jours</a:t>
            </a:r>
            <a:r>
              <a:rPr lang="en-GB" sz="1400" dirty="0"/>
              <a:t> de travail perdus </a:t>
            </a:r>
            <a:r>
              <a:rPr lang="en-GB" sz="1400" dirty="0" err="1"/>
              <a:t>en</a:t>
            </a:r>
            <a:r>
              <a:rPr lang="en-GB" sz="1400" dirty="0"/>
              <a:t> Europ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7923F4-8C7F-0C4E-A064-061C52BE2C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15355" y="6356350"/>
            <a:ext cx="518652" cy="365125"/>
          </a:xfrm>
        </p:spPr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667EC89C-17A0-4E64-A6D2-B825673CEEDF}" type="slidenum">
              <a:rPr kumimoji="0" lang="da-DK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Pan Display TT"/>
                <a:ea typeface="+mn-ea"/>
                <a:cs typeface="+mn-cs"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a-DK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Pan Display T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1202E79-1236-4DF8-9921-F47A0B079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277600" y="0"/>
            <a:ext cx="914400" cy="6858000"/>
          </a:xfrm>
          <a:prstGeom prst="rect">
            <a:avLst/>
          </a:prstGeom>
          <a:solidFill>
            <a:schemeClr val="tx1">
              <a:lumMod val="85000"/>
              <a:lumOff val="1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86F113-0C57-2F44-86A9-F8396141ED9D}"/>
              </a:ext>
            </a:extLst>
          </p:cNvPr>
          <p:cNvSpPr/>
          <p:nvPr/>
        </p:nvSpPr>
        <p:spPr>
          <a:xfrm>
            <a:off x="311169" y="1074509"/>
            <a:ext cx="2937164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“Le stress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chronique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au travail qui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n’a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pas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été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géré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avec succès, qui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comprend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des sentiments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’épuisement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ou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’épuisement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énergétiques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,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entraîne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une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distance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mentale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accrue par rapport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à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son travail et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une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efficacité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rofessionnelle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sz="20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réduite</a:t>
            </a:r>
            <a:r>
              <a:rPr lang="en-GB" sz="2000" i="1" dirty="0">
                <a:solidFill>
                  <a:schemeClr val="bg1"/>
                </a:solidFill>
                <a:latin typeface="Century Gothic" panose="020B0502020202020204" pitchFamily="34" charset="0"/>
              </a:rPr>
              <a:t>.”</a:t>
            </a:r>
          </a:p>
          <a:p>
            <a:endParaRPr lang="en-US" sz="2000" i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873603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Wood human figure">
            <a:extLst>
              <a:ext uri="{FF2B5EF4-FFF2-40B4-BE49-F238E27FC236}">
                <a16:creationId xmlns:a16="http://schemas.microsoft.com/office/drawing/2014/main" id="{ED7E0EDE-71B4-6C27-96A5-EB3D274DF5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6" name="Rectangle 17">
            <a:extLst>
              <a:ext uri="{FF2B5EF4-FFF2-40B4-BE49-F238E27FC236}">
                <a16:creationId xmlns:a16="http://schemas.microsoft.com/office/drawing/2014/main" id="{B4916930-E76E-4100-9DCF-4981566A37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857375" y="1885950"/>
            <a:ext cx="8505825" cy="3152775"/>
          </a:xfrm>
          <a:prstGeom prst="rect">
            <a:avLst/>
          </a:prstGeom>
          <a:solidFill>
            <a:schemeClr val="bg1">
              <a:alpha val="75000"/>
            </a:schemeClr>
          </a:solidFill>
          <a:ln w="63500" cmpd="dbl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985147-CCE1-264E-8803-2F0D4C4FD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6475" y="2247900"/>
            <a:ext cx="7581900" cy="25146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6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Que </a:t>
            </a:r>
            <a:r>
              <a:rPr lang="en-US" sz="6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faites-vous</a:t>
            </a:r>
            <a:r>
              <a:rPr lang="en-US" sz="6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158558513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B5B0058-AF13-4859-B429-4EDDE2A26F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4F0801-7C85-A64E-9220-CF0036C0F9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2903" y="949325"/>
            <a:ext cx="8071706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6600" dirty="0" err="1">
                <a:solidFill>
                  <a:schemeClr val="bg1"/>
                </a:solidFill>
                <a:latin typeface="+mj-lt"/>
              </a:rPr>
              <a:t>Pourquoi</a:t>
            </a:r>
            <a:r>
              <a:rPr lang="en-US" sz="6600" dirty="0">
                <a:solidFill>
                  <a:schemeClr val="bg1"/>
                </a:solidFill>
                <a:latin typeface="+mj-lt"/>
              </a:rPr>
              <a:t> le bien-</a:t>
            </a:r>
            <a:r>
              <a:rPr lang="en-US" sz="6600" dirty="0" err="1">
                <a:solidFill>
                  <a:schemeClr val="bg1"/>
                </a:solidFill>
                <a:latin typeface="+mj-lt"/>
              </a:rPr>
              <a:t>être</a:t>
            </a:r>
            <a:r>
              <a:rPr lang="en-US" sz="6600" dirty="0">
                <a:solidFill>
                  <a:schemeClr val="bg1"/>
                </a:solidFill>
                <a:latin typeface="+mj-lt"/>
              </a:rPr>
              <a:t> physique?</a:t>
            </a:r>
            <a:endParaRPr lang="en-US" sz="6600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C4521DE-248E-440D-AAD6-FD9E7D34B3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85285" y="0"/>
            <a:ext cx="0" cy="685800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42C13FA-4C0F-42D0-9626-5BA6040D8C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0" y="6252485"/>
            <a:ext cx="12192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7306116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2" name="!!BGRectangle">
            <a:extLst>
              <a:ext uri="{FF2B5EF4-FFF2-40B4-BE49-F238E27FC236}">
                <a16:creationId xmlns:a16="http://schemas.microsoft.com/office/drawing/2014/main" id="{9CC67894-1D18-43E0-B8E1-ECF37EB0D4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-6182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13E3398-4840-4DA1-B674-51AE569B24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03569C-18C6-4EA4-845A-C939535CA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3276" y="712268"/>
            <a:ext cx="10410524" cy="1193533"/>
          </a:xfrm>
        </p:spPr>
        <p:txBody>
          <a:bodyPr vert="horz" lIns="91440" tIns="45720" rIns="91440" bIns="45720" rtlCol="0">
            <a:normAutofit fontScale="90000"/>
          </a:bodyPr>
          <a:lstStyle/>
          <a:p>
            <a:r>
              <a:rPr lang="en-US" sz="4000" dirty="0">
                <a:solidFill>
                  <a:srgbClr val="FFFFFF"/>
                </a:solidFill>
                <a:latin typeface="+mn-lt"/>
              </a:rPr>
              <a:t>Le stress </a:t>
            </a:r>
            <a:r>
              <a:rPr lang="en-US" sz="4000" dirty="0" err="1">
                <a:solidFill>
                  <a:srgbClr val="FFFFFF"/>
                </a:solidFill>
                <a:latin typeface="+mn-lt"/>
              </a:rPr>
              <a:t>est</a:t>
            </a:r>
            <a:r>
              <a:rPr lang="en-US" sz="4000" dirty="0">
                <a:solidFill>
                  <a:srgbClr val="FFFFFF"/>
                </a:solidFill>
                <a:latin typeface="+mn-lt"/>
              </a:rPr>
              <a:t> la cause </a:t>
            </a:r>
            <a:r>
              <a:rPr lang="en-US" sz="4000" dirty="0" err="1">
                <a:solidFill>
                  <a:srgbClr val="FFFFFF"/>
                </a:solidFill>
                <a:latin typeface="+mn-lt"/>
              </a:rPr>
              <a:t>fondamentale</a:t>
            </a:r>
            <a:r>
              <a:rPr lang="en-US" sz="4000" dirty="0">
                <a:solidFill>
                  <a:srgbClr val="FFFFFF"/>
                </a:solidFill>
                <a:latin typeface="+mn-lt"/>
              </a:rPr>
              <a:t> de plus de 60% de </a:t>
            </a:r>
            <a:r>
              <a:rPr lang="en-US" sz="4000" dirty="0" err="1">
                <a:solidFill>
                  <a:srgbClr val="FFFFFF"/>
                </a:solidFill>
                <a:latin typeface="+mn-lt"/>
              </a:rPr>
              <a:t>toutes</a:t>
            </a:r>
            <a:r>
              <a:rPr lang="en-US" sz="4000" dirty="0">
                <a:solidFill>
                  <a:srgbClr val="FFFFFF"/>
                </a:solidFill>
                <a:latin typeface="+mn-lt"/>
              </a:rPr>
              <a:t> les maladies </a:t>
            </a:r>
            <a:r>
              <a:rPr lang="en-US" sz="4000" dirty="0" err="1">
                <a:solidFill>
                  <a:srgbClr val="FFFFFF"/>
                </a:solidFill>
                <a:latin typeface="+mn-lt"/>
              </a:rPr>
              <a:t>humaines</a:t>
            </a:r>
            <a:endParaRPr lang="en-US" sz="3700" kern="1200" dirty="0">
              <a:solidFill>
                <a:srgbClr val="FFFFFF"/>
              </a:solidFill>
              <a:latin typeface="+mn-lt"/>
              <a:ea typeface="+mj-ea"/>
            </a:endParaRPr>
          </a:p>
        </p:txBody>
      </p:sp>
      <p:sp>
        <p:nvSpPr>
          <p:cNvPr id="36" name="!!Line">
            <a:extLst>
              <a:ext uri="{FF2B5EF4-FFF2-40B4-BE49-F238E27FC236}">
                <a16:creationId xmlns:a16="http://schemas.microsoft.com/office/drawing/2014/main" id="{83306AB0-8BF5-43D5-B5E2-C53EA07838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62000" y="826324"/>
            <a:ext cx="27432" cy="9144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Text Placeholder 4">
            <a:extLst>
              <a:ext uri="{FF2B5EF4-FFF2-40B4-BE49-F238E27FC236}">
                <a16:creationId xmlns:a16="http://schemas.microsoft.com/office/drawing/2014/main" id="{C730D31F-3C9C-46EA-B71B-8E6EB8660AA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4582341"/>
              </p:ext>
            </p:extLst>
          </p:nvPr>
        </p:nvGraphicFramePr>
        <p:xfrm>
          <a:off x="943276" y="2470594"/>
          <a:ext cx="10410524" cy="41267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564025630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!!BGRectangle">
            <a:extLst>
              <a:ext uri="{FF2B5EF4-FFF2-40B4-BE49-F238E27FC236}">
                <a16:creationId xmlns:a16="http://schemas.microsoft.com/office/drawing/2014/main" id="{9CC67894-1D18-43E0-B8E1-ECF37EB0D4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-6182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13E3398-4840-4DA1-B674-51AE569B24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E6DD77-E395-404A-9D4A-71C0C14DDF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3276" y="712268"/>
            <a:ext cx="10410524" cy="1193533"/>
          </a:xfrm>
        </p:spPr>
        <p:txBody>
          <a:bodyPr>
            <a:noAutofit/>
          </a:bodyPr>
          <a:lstStyle/>
          <a:p>
            <a:r>
              <a:rPr lang="en-GB" sz="3200" dirty="0">
                <a:solidFill>
                  <a:srgbClr val="FFFFFF"/>
                </a:solidFill>
              </a:rPr>
              <a:t>Maladies non </a:t>
            </a:r>
            <a:r>
              <a:rPr lang="en-GB" sz="3200" dirty="0" err="1">
                <a:solidFill>
                  <a:srgbClr val="FFFFFF"/>
                </a:solidFill>
              </a:rPr>
              <a:t>transmissibles</a:t>
            </a:r>
            <a:br>
              <a:rPr lang="en-GB" sz="3200" dirty="0">
                <a:solidFill>
                  <a:srgbClr val="FFFFFF"/>
                </a:solidFill>
              </a:rPr>
            </a:br>
            <a:r>
              <a:rPr lang="en-GB" sz="3200" b="1" dirty="0">
                <a:solidFill>
                  <a:srgbClr val="FFFFFF"/>
                </a:solidFill>
              </a:rPr>
              <a:t>74% </a:t>
            </a:r>
            <a:r>
              <a:rPr lang="en-GB" sz="3200" dirty="0">
                <a:solidFill>
                  <a:srgbClr val="FFFFFF"/>
                </a:solidFill>
              </a:rPr>
              <a:t>de </a:t>
            </a:r>
            <a:r>
              <a:rPr lang="en-GB" sz="3200" dirty="0" err="1">
                <a:solidFill>
                  <a:srgbClr val="FFFFFF"/>
                </a:solidFill>
              </a:rPr>
              <a:t>décès</a:t>
            </a:r>
            <a:r>
              <a:rPr lang="en-GB" sz="3200" dirty="0">
                <a:solidFill>
                  <a:srgbClr val="FFFFFF"/>
                </a:solidFill>
              </a:rPr>
              <a:t> dans le monde</a:t>
            </a:r>
            <a:br>
              <a:rPr lang="en-GB" sz="3200" dirty="0">
                <a:solidFill>
                  <a:srgbClr val="FFFFFF"/>
                </a:solidFill>
              </a:rPr>
            </a:br>
            <a:r>
              <a:rPr lang="en-GB" sz="3200" b="1" dirty="0">
                <a:solidFill>
                  <a:srgbClr val="FFFFFF"/>
                </a:solidFill>
              </a:rPr>
              <a:t>80 % </a:t>
            </a:r>
            <a:r>
              <a:rPr lang="en-GB" sz="3200" dirty="0" err="1">
                <a:solidFill>
                  <a:srgbClr val="FFFFFF"/>
                </a:solidFill>
              </a:rPr>
              <a:t>évitable</a:t>
            </a:r>
            <a:endParaRPr lang="en-CH" sz="3200" dirty="0">
              <a:solidFill>
                <a:srgbClr val="FFFFFF"/>
              </a:solidFill>
            </a:endParaRPr>
          </a:p>
        </p:txBody>
      </p:sp>
      <p:sp>
        <p:nvSpPr>
          <p:cNvPr id="18" name="!!Line">
            <a:extLst>
              <a:ext uri="{FF2B5EF4-FFF2-40B4-BE49-F238E27FC236}">
                <a16:creationId xmlns:a16="http://schemas.microsoft.com/office/drawing/2014/main" id="{83306AB0-8BF5-43D5-B5E2-C53EA07838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62000" y="826324"/>
            <a:ext cx="27432" cy="9144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30EF08FE-25E5-4640-B197-CA3FA24ADE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0686572"/>
              </p:ext>
            </p:extLst>
          </p:nvPr>
        </p:nvGraphicFramePr>
        <p:xfrm>
          <a:off x="2225539" y="826324"/>
          <a:ext cx="11399520" cy="54646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714959213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!!BGRectangle">
            <a:extLst>
              <a:ext uri="{FF2B5EF4-FFF2-40B4-BE49-F238E27FC236}">
                <a16:creationId xmlns:a16="http://schemas.microsoft.com/office/drawing/2014/main" id="{9CC67894-1D18-43E0-B8E1-ECF37EB0D4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-6182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3E3398-4840-4DA1-B674-51AE569B24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E7643E-4986-4B49-AC65-021581107A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3276" y="712268"/>
            <a:ext cx="10410524" cy="1193533"/>
          </a:xfrm>
        </p:spPr>
        <p:txBody>
          <a:bodyPr>
            <a:normAutofit/>
          </a:bodyPr>
          <a:lstStyle/>
          <a:p>
            <a:r>
              <a:rPr lang="en-US" sz="3700" dirty="0" err="1">
                <a:solidFill>
                  <a:srgbClr val="FFFFFF"/>
                </a:solidFill>
                <a:cs typeface="Arial" pitchFamily="34" charset="0"/>
              </a:rPr>
              <a:t>Avantages</a:t>
            </a:r>
            <a:r>
              <a:rPr lang="en-US" sz="3700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3700" dirty="0" err="1">
                <a:solidFill>
                  <a:srgbClr val="FFFFFF"/>
                </a:solidFill>
                <a:cs typeface="Arial" pitchFamily="34" charset="0"/>
              </a:rPr>
              <a:t>liés</a:t>
            </a:r>
            <a:r>
              <a:rPr lang="en-US" sz="3700" dirty="0">
                <a:solidFill>
                  <a:srgbClr val="FFFFFF"/>
                </a:solidFill>
                <a:cs typeface="Arial" pitchFamily="34" charset="0"/>
              </a:rPr>
              <a:t> au stress </a:t>
            </a:r>
            <a:r>
              <a:rPr lang="en-US" sz="3700" dirty="0" err="1">
                <a:solidFill>
                  <a:srgbClr val="FFFFFF"/>
                </a:solidFill>
                <a:cs typeface="Arial" pitchFamily="34" charset="0"/>
              </a:rPr>
              <a:t>résultant</a:t>
            </a:r>
            <a:r>
              <a:rPr lang="en-US" sz="3700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3700" dirty="0" err="1">
                <a:solidFill>
                  <a:srgbClr val="FFFFFF"/>
                </a:solidFill>
                <a:cs typeface="Arial" pitchFamily="34" charset="0"/>
              </a:rPr>
              <a:t>d’une</a:t>
            </a:r>
            <a:r>
              <a:rPr lang="en-US" sz="3700" dirty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3700" dirty="0" err="1">
                <a:solidFill>
                  <a:srgbClr val="FFFFFF"/>
                </a:solidFill>
                <a:cs typeface="Arial" pitchFamily="34" charset="0"/>
              </a:rPr>
              <a:t>meilleure</a:t>
            </a:r>
            <a:r>
              <a:rPr lang="en-US" sz="3700" dirty="0">
                <a:solidFill>
                  <a:srgbClr val="FFFFFF"/>
                </a:solidFill>
                <a:cs typeface="Arial" pitchFamily="34" charset="0"/>
              </a:rPr>
              <a:t> nutrition</a:t>
            </a:r>
            <a:endParaRPr lang="en-CH" sz="3700" dirty="0">
              <a:solidFill>
                <a:srgbClr val="FFFFFF"/>
              </a:solidFill>
            </a:endParaRPr>
          </a:p>
        </p:txBody>
      </p:sp>
      <p:sp>
        <p:nvSpPr>
          <p:cNvPr id="22" name="!!Line">
            <a:extLst>
              <a:ext uri="{FF2B5EF4-FFF2-40B4-BE49-F238E27FC236}">
                <a16:creationId xmlns:a16="http://schemas.microsoft.com/office/drawing/2014/main" id="{83306AB0-8BF5-43D5-B5E2-C53EA07838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62000" y="826324"/>
            <a:ext cx="27432" cy="9144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CEFBE312-209A-738F-AF83-E00DCFF25E4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32394399"/>
              </p:ext>
            </p:extLst>
          </p:nvPr>
        </p:nvGraphicFramePr>
        <p:xfrm>
          <a:off x="943276" y="2050181"/>
          <a:ext cx="10410524" cy="41267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2525587C-A6F5-8143-B81F-1E014ACB85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81222556"/>
              </p:ext>
            </p:extLst>
          </p:nvPr>
        </p:nvGraphicFramePr>
        <p:xfrm>
          <a:off x="9151462" y="287209"/>
          <a:ext cx="3037490" cy="16145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992067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!!BGRectangle">
            <a:extLst>
              <a:ext uri="{FF2B5EF4-FFF2-40B4-BE49-F238E27FC236}">
                <a16:creationId xmlns:a16="http://schemas.microsoft.com/office/drawing/2014/main" id="{9CC67894-1D18-43E0-B8E1-ECF37EB0D4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-6182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13E3398-4840-4DA1-B674-51AE569B24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086231-4907-4BBB-80D8-E6BE2CFF20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3276" y="712268"/>
            <a:ext cx="10410524" cy="119353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700" dirty="0" err="1">
                <a:solidFill>
                  <a:srgbClr val="FFFFFF"/>
                </a:solidFill>
                <a:latin typeface="+mj-lt"/>
              </a:rPr>
              <a:t>Avantages</a:t>
            </a:r>
            <a:r>
              <a:rPr lang="en-US" sz="3700" dirty="0">
                <a:solidFill>
                  <a:srgbClr val="FFFFFF"/>
                </a:solidFill>
                <a:latin typeface="+mj-lt"/>
              </a:rPr>
              <a:t> </a:t>
            </a:r>
            <a:r>
              <a:rPr lang="en-US" sz="3700" dirty="0" err="1">
                <a:solidFill>
                  <a:srgbClr val="FFFFFF"/>
                </a:solidFill>
                <a:latin typeface="+mj-lt"/>
              </a:rPr>
              <a:t>liés</a:t>
            </a:r>
            <a:r>
              <a:rPr lang="en-US" sz="3700" dirty="0">
                <a:solidFill>
                  <a:srgbClr val="FFFFFF"/>
                </a:solidFill>
                <a:latin typeface="+mj-lt"/>
              </a:rPr>
              <a:t> au stress </a:t>
            </a:r>
            <a:r>
              <a:rPr lang="en-US" sz="3700" dirty="0" err="1">
                <a:solidFill>
                  <a:srgbClr val="FFFFFF"/>
                </a:solidFill>
                <a:latin typeface="+mj-lt"/>
              </a:rPr>
              <a:t>résultant</a:t>
            </a:r>
            <a:r>
              <a:rPr lang="en-US" sz="3700" dirty="0">
                <a:solidFill>
                  <a:srgbClr val="FFFFFF"/>
                </a:solidFill>
                <a:latin typeface="+mj-lt"/>
              </a:rPr>
              <a:t> de </a:t>
            </a:r>
            <a:r>
              <a:rPr lang="en-US" sz="3700" dirty="0" err="1">
                <a:solidFill>
                  <a:srgbClr val="FFFFFF"/>
                </a:solidFill>
                <a:latin typeface="+mj-lt"/>
              </a:rPr>
              <a:t>l’amélioration</a:t>
            </a:r>
            <a:r>
              <a:rPr lang="en-US" sz="3700" dirty="0">
                <a:solidFill>
                  <a:srgbClr val="FFFFFF"/>
                </a:solidFill>
                <a:latin typeface="+mj-lt"/>
              </a:rPr>
              <a:t> de </a:t>
            </a:r>
            <a:r>
              <a:rPr lang="en-US" sz="3700" dirty="0" err="1">
                <a:solidFill>
                  <a:srgbClr val="FFFFFF"/>
                </a:solidFill>
                <a:latin typeface="+mj-lt"/>
              </a:rPr>
              <a:t>l’activité</a:t>
            </a:r>
            <a:r>
              <a:rPr lang="en-US" sz="3700" dirty="0">
                <a:solidFill>
                  <a:srgbClr val="FFFFFF"/>
                </a:solidFill>
                <a:latin typeface="+mj-lt"/>
              </a:rPr>
              <a:t> physique</a:t>
            </a:r>
          </a:p>
        </p:txBody>
      </p:sp>
      <p:sp>
        <p:nvSpPr>
          <p:cNvPr id="23" name="!!Line">
            <a:extLst>
              <a:ext uri="{FF2B5EF4-FFF2-40B4-BE49-F238E27FC236}">
                <a16:creationId xmlns:a16="http://schemas.microsoft.com/office/drawing/2014/main" id="{83306AB0-8BF5-43D5-B5E2-C53EA07838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62000" y="826324"/>
            <a:ext cx="27432" cy="9144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0D0F7E87-8977-43BE-9056-C7DA876A0FE4}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370180823"/>
              </p:ext>
            </p:extLst>
          </p:nvPr>
        </p:nvGraphicFramePr>
        <p:xfrm>
          <a:off x="943275" y="2050180"/>
          <a:ext cx="10544531" cy="43506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F4F217B1-A7F5-8046-AEAB-B307DAF290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7562922"/>
              </p:ext>
            </p:extLst>
          </p:nvPr>
        </p:nvGraphicFramePr>
        <p:xfrm>
          <a:off x="9151462" y="287209"/>
          <a:ext cx="3037490" cy="16145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11138904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!!BGRectangle">
            <a:extLst>
              <a:ext uri="{FF2B5EF4-FFF2-40B4-BE49-F238E27FC236}">
                <a16:creationId xmlns:a16="http://schemas.microsoft.com/office/drawing/2014/main" id="{9CC67894-1D18-43E0-B8E1-ECF37EB0D4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8" y="-6182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3E3398-4840-4DA1-B674-51AE569B24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B7E3C2-6D3A-A447-A76F-87C164818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3276" y="712268"/>
            <a:ext cx="10410524" cy="1193533"/>
          </a:xfrm>
        </p:spPr>
        <p:txBody>
          <a:bodyPr>
            <a:normAutofit/>
          </a:bodyPr>
          <a:lstStyle/>
          <a:p>
            <a:r>
              <a:rPr lang="en-US" sz="3700" dirty="0" err="1">
                <a:solidFill>
                  <a:srgbClr val="FFFFFF"/>
                </a:solidFill>
              </a:rPr>
              <a:t>Avantages</a:t>
            </a:r>
            <a:r>
              <a:rPr lang="en-US" sz="3700" dirty="0">
                <a:solidFill>
                  <a:srgbClr val="FFFFFF"/>
                </a:solidFill>
              </a:rPr>
              <a:t> </a:t>
            </a:r>
            <a:r>
              <a:rPr lang="en-US" sz="3700" dirty="0" err="1">
                <a:solidFill>
                  <a:srgbClr val="FFFFFF"/>
                </a:solidFill>
              </a:rPr>
              <a:t>liés</a:t>
            </a:r>
            <a:r>
              <a:rPr lang="en-US" sz="3700" dirty="0">
                <a:solidFill>
                  <a:srgbClr val="FFFFFF"/>
                </a:solidFill>
              </a:rPr>
              <a:t> au stress </a:t>
            </a:r>
            <a:r>
              <a:rPr lang="en-US" sz="3700" dirty="0" err="1">
                <a:solidFill>
                  <a:srgbClr val="FFFFFF"/>
                </a:solidFill>
              </a:rPr>
              <a:t>résultant</a:t>
            </a:r>
            <a:r>
              <a:rPr lang="en-US" sz="3700" dirty="0">
                <a:solidFill>
                  <a:srgbClr val="FFFFFF"/>
                </a:solidFill>
              </a:rPr>
              <a:t> de </a:t>
            </a:r>
            <a:r>
              <a:rPr lang="en-US" sz="3700" dirty="0" err="1">
                <a:solidFill>
                  <a:srgbClr val="FFFFFF"/>
                </a:solidFill>
              </a:rPr>
              <a:t>l’amélioration</a:t>
            </a:r>
            <a:r>
              <a:rPr lang="en-US" sz="3700" dirty="0">
                <a:solidFill>
                  <a:srgbClr val="FFFFFF"/>
                </a:solidFill>
              </a:rPr>
              <a:t> de </a:t>
            </a:r>
            <a:r>
              <a:rPr lang="en-US" sz="3700" dirty="0" err="1">
                <a:solidFill>
                  <a:srgbClr val="FFFFFF"/>
                </a:solidFill>
              </a:rPr>
              <a:t>l’activité</a:t>
            </a:r>
            <a:r>
              <a:rPr lang="en-US" sz="3700" dirty="0">
                <a:solidFill>
                  <a:srgbClr val="FFFFFF"/>
                </a:solidFill>
              </a:rPr>
              <a:t> physique</a:t>
            </a:r>
            <a:endParaRPr lang="en-CH" sz="3700" dirty="0">
              <a:solidFill>
                <a:srgbClr val="FFFFFF"/>
              </a:solidFill>
            </a:endParaRPr>
          </a:p>
        </p:txBody>
      </p:sp>
      <p:sp>
        <p:nvSpPr>
          <p:cNvPr id="22" name="!!Line">
            <a:extLst>
              <a:ext uri="{FF2B5EF4-FFF2-40B4-BE49-F238E27FC236}">
                <a16:creationId xmlns:a16="http://schemas.microsoft.com/office/drawing/2014/main" id="{83306AB0-8BF5-43D5-B5E2-C53EA07838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62000" y="826324"/>
            <a:ext cx="27432" cy="9144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16E94EC6-8733-44C7-0C50-83DB1993388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29517326"/>
              </p:ext>
            </p:extLst>
          </p:nvPr>
        </p:nvGraphicFramePr>
        <p:xfrm>
          <a:off x="943276" y="2050181"/>
          <a:ext cx="10410524" cy="41267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7A1FC6F6-3033-3147-8AD4-98E9B98020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2277096"/>
              </p:ext>
            </p:extLst>
          </p:nvPr>
        </p:nvGraphicFramePr>
        <p:xfrm>
          <a:off x="9151462" y="287209"/>
          <a:ext cx="3037490" cy="16145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202380836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Wood human figure">
            <a:extLst>
              <a:ext uri="{FF2B5EF4-FFF2-40B4-BE49-F238E27FC236}">
                <a16:creationId xmlns:a16="http://schemas.microsoft.com/office/drawing/2014/main" id="{ED7E0EDE-71B4-6C27-96A5-EB3D274DF5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6" name="Rectangle 17">
            <a:extLst>
              <a:ext uri="{FF2B5EF4-FFF2-40B4-BE49-F238E27FC236}">
                <a16:creationId xmlns:a16="http://schemas.microsoft.com/office/drawing/2014/main" id="{B4916930-E76E-4100-9DCF-4981566A37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857375" y="1885950"/>
            <a:ext cx="8505825" cy="3152775"/>
          </a:xfrm>
          <a:prstGeom prst="rect">
            <a:avLst/>
          </a:prstGeom>
          <a:solidFill>
            <a:schemeClr val="bg1">
              <a:alpha val="75000"/>
            </a:schemeClr>
          </a:solidFill>
          <a:ln w="63500" cmpd="dbl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985147-CCE1-264E-8803-2F0D4C4FD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6475" y="2247900"/>
            <a:ext cx="7581900" cy="25146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6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Que </a:t>
            </a:r>
            <a:r>
              <a:rPr lang="en-US" sz="6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faites-vous</a:t>
            </a:r>
            <a:r>
              <a:rPr lang="en-US" sz="6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242593966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4" descr="A person sitting at a desk in front of a window&#10;&#10;Description automatically generated">
            <a:extLst>
              <a:ext uri="{FF2B5EF4-FFF2-40B4-BE49-F238E27FC236}">
                <a16:creationId xmlns:a16="http://schemas.microsoft.com/office/drawing/2014/main" id="{4E36185B-0CFF-DB4C-A053-C769737385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4637226" cy="6857990"/>
          </a:xfrm>
          <a:prstGeom prst="rect">
            <a:avLst/>
          </a:prstGeom>
        </p:spPr>
      </p:pic>
      <p:sp>
        <p:nvSpPr>
          <p:cNvPr id="46" name="Rectangle 43">
            <a:extLst>
              <a:ext uri="{FF2B5EF4-FFF2-40B4-BE49-F238E27FC236}">
                <a16:creationId xmlns:a16="http://schemas.microsoft.com/office/drawing/2014/main" id="{B9951BD9-0868-4CDB-ACD6-9C4209B5E4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4637247" y="0"/>
            <a:ext cx="7554754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F24113BA-1E0F-1B4A-9D9D-435E8A6FC1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7328" y="640082"/>
            <a:ext cx="6274591" cy="335160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 dirty="0">
                <a:solidFill>
                  <a:schemeClr val="bg1"/>
                </a:solidFill>
                <a:latin typeface="+mj-lt"/>
              </a:rPr>
              <a:t>Ellen Kocher</a:t>
            </a:r>
            <a:br>
              <a:rPr lang="en-US" sz="3800" dirty="0">
                <a:solidFill>
                  <a:schemeClr val="bg1"/>
                </a:solidFill>
                <a:latin typeface="+mj-lt"/>
              </a:rPr>
            </a:br>
            <a:r>
              <a:rPr lang="en-US" sz="3200" dirty="0">
                <a:solidFill>
                  <a:schemeClr val="bg1"/>
                </a:solidFill>
                <a:latin typeface="+mj-lt"/>
              </a:rPr>
              <a:t>MHWC-WW</a:t>
            </a:r>
            <a:br>
              <a:rPr lang="en-US" sz="3200" dirty="0">
                <a:solidFill>
                  <a:schemeClr val="bg1"/>
                </a:solidFill>
                <a:latin typeface="+mj-lt"/>
              </a:rPr>
            </a:br>
            <a:r>
              <a:rPr lang="en-US" sz="3200" dirty="0">
                <a:solidFill>
                  <a:schemeClr val="bg1"/>
                </a:solidFill>
                <a:latin typeface="+mj-lt"/>
              </a:rPr>
              <a:t>ICF PCC</a:t>
            </a:r>
            <a:br>
              <a:rPr lang="en-US" sz="3200" dirty="0">
                <a:solidFill>
                  <a:schemeClr val="bg1"/>
                </a:solidFill>
                <a:latin typeface="+mj-lt"/>
              </a:rPr>
            </a:br>
            <a:r>
              <a:rPr lang="en-US" sz="3200" dirty="0">
                <a:solidFill>
                  <a:schemeClr val="bg1"/>
                </a:solidFill>
                <a:latin typeface="+mj-lt"/>
              </a:rPr>
              <a:t>NBC-HWC</a:t>
            </a:r>
            <a:br>
              <a:rPr lang="en-US" sz="3200" dirty="0">
                <a:solidFill>
                  <a:schemeClr val="bg1"/>
                </a:solidFill>
                <a:latin typeface="+mj-lt"/>
              </a:rPr>
            </a:br>
            <a:r>
              <a:rPr lang="en-US" sz="3200" dirty="0">
                <a:solidFill>
                  <a:schemeClr val="bg1"/>
                </a:solidFill>
                <a:latin typeface="+mj-lt"/>
              </a:rPr>
              <a:t>PSS – WWA &amp; WWC</a:t>
            </a:r>
            <a:br>
              <a:rPr lang="en-US" sz="3200" dirty="0">
                <a:solidFill>
                  <a:schemeClr val="bg1"/>
                </a:solidFill>
                <a:latin typeface="+mj-lt"/>
              </a:rPr>
            </a:br>
            <a:r>
              <a:rPr lang="en-US" sz="3200" dirty="0">
                <a:solidFill>
                  <a:schemeClr val="bg1"/>
                </a:solidFill>
                <a:latin typeface="+mj-lt"/>
              </a:rPr>
              <a:t>NWI - CWWS</a:t>
            </a:r>
            <a:endParaRPr lang="en-US" sz="38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83C08CC4-2A36-DBB8-0F1F-386E16306B2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0457" y="4077843"/>
            <a:ext cx="6488598" cy="3299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691305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B5B0058-AF13-4859-B429-4EDDE2A26F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4F0801-7C85-A64E-9220-CF0036C0F9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2903" y="949325"/>
            <a:ext cx="8071706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6600" dirty="0">
                <a:solidFill>
                  <a:schemeClr val="bg1"/>
                </a:solidFill>
                <a:latin typeface="+mj-lt"/>
              </a:rPr>
              <a:t>Par </a:t>
            </a:r>
            <a:r>
              <a:rPr lang="en-US" sz="6600" dirty="0" err="1">
                <a:solidFill>
                  <a:schemeClr val="bg1"/>
                </a:solidFill>
                <a:latin typeface="+mj-lt"/>
              </a:rPr>
              <a:t>où</a:t>
            </a:r>
            <a:r>
              <a:rPr lang="en-US" sz="6600" dirty="0">
                <a:solidFill>
                  <a:schemeClr val="bg1"/>
                </a:solidFill>
                <a:latin typeface="+mj-lt"/>
              </a:rPr>
              <a:t> commencer?</a:t>
            </a:r>
            <a:endParaRPr lang="en-US" sz="6600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C4521DE-248E-440D-AAD6-FD9E7D34B3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85285" y="0"/>
            <a:ext cx="0" cy="685800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42C13FA-4C0F-42D0-9626-5BA6040D8C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0" y="6252485"/>
            <a:ext cx="12192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986750"/>
      </p:ext>
    </p:extLst>
  </p:cSld>
  <p:clrMapOvr>
    <a:masterClrMapping/>
  </p:clrMapOvr>
  <p:transition spd="slow">
    <p:push dir="u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228552E-C8B1-4A80-8448-0787CE0FC7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38C96-23E7-EE44-A05E-39202E9F0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372" y="606862"/>
            <a:ext cx="11215255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en-GB" dirty="0">
                <a:solidFill>
                  <a:srgbClr val="FFFFFF"/>
                </a:solidFill>
              </a:rPr>
              <a:t>Les </a:t>
            </a:r>
            <a:r>
              <a:rPr lang="en-GB" dirty="0" err="1">
                <a:solidFill>
                  <a:srgbClr val="FFFFFF"/>
                </a:solidFill>
              </a:rPr>
              <a:t>principaux</a:t>
            </a:r>
            <a:r>
              <a:rPr lang="en-GB" dirty="0">
                <a:solidFill>
                  <a:srgbClr val="FFFFFF"/>
                </a:solidFill>
              </a:rPr>
              <a:t> </a:t>
            </a:r>
            <a:r>
              <a:rPr lang="en-GB" b="1" dirty="0">
                <a:solidFill>
                  <a:srgbClr val="FFFFFF"/>
                </a:solidFill>
              </a:rPr>
              <a:t>obstacles</a:t>
            </a:r>
            <a:r>
              <a:rPr lang="en-GB" dirty="0">
                <a:solidFill>
                  <a:srgbClr val="FFFFFF"/>
                </a:solidFill>
              </a:rPr>
              <a:t> </a:t>
            </a:r>
            <a:r>
              <a:rPr lang="en-GB" dirty="0" err="1">
                <a:solidFill>
                  <a:srgbClr val="FFFFFF"/>
                </a:solidFill>
              </a:rPr>
              <a:t>à</a:t>
            </a:r>
            <a:r>
              <a:rPr lang="en-GB" dirty="0">
                <a:solidFill>
                  <a:srgbClr val="FFFFFF"/>
                </a:solidFill>
              </a:rPr>
              <a:t> la participation aux programmes de bien-</a:t>
            </a:r>
            <a:r>
              <a:rPr lang="en-GB" dirty="0" err="1">
                <a:solidFill>
                  <a:srgbClr val="FFFFFF"/>
                </a:solidFill>
              </a:rPr>
              <a:t>être</a:t>
            </a:r>
            <a:endParaRPr lang="en-CH" dirty="0">
              <a:solidFill>
                <a:srgbClr val="FFFFFF"/>
              </a:solidFill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1B694BEE-3BA8-4093-B1E4-616AEA4398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0104715"/>
              </p:ext>
            </p:extLst>
          </p:nvPr>
        </p:nvGraphicFramePr>
        <p:xfrm>
          <a:off x="-318655" y="1524000"/>
          <a:ext cx="12372110" cy="533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654299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228552E-C8B1-4A80-8448-0787CE0FC7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238C96-23E7-EE44-A05E-39202E9F0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GB" dirty="0">
                <a:solidFill>
                  <a:srgbClr val="FFFFFF"/>
                </a:solidFill>
              </a:rPr>
              <a:t>Par </a:t>
            </a:r>
            <a:r>
              <a:rPr lang="en-GB" dirty="0" err="1">
                <a:solidFill>
                  <a:srgbClr val="FFFFFF"/>
                </a:solidFill>
              </a:rPr>
              <a:t>où</a:t>
            </a:r>
            <a:r>
              <a:rPr lang="en-GB" dirty="0">
                <a:solidFill>
                  <a:srgbClr val="FFFFFF"/>
                </a:solidFill>
              </a:rPr>
              <a:t> commencer?</a:t>
            </a:r>
            <a:endParaRPr lang="en-CH" dirty="0">
              <a:solidFill>
                <a:srgbClr val="FFFFFF"/>
              </a:solidFill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1B694BEE-3BA8-4093-B1E4-616AEA4398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2773076"/>
              </p:ext>
            </p:extLst>
          </p:nvPr>
        </p:nvGraphicFramePr>
        <p:xfrm>
          <a:off x="-483476" y="1690688"/>
          <a:ext cx="12286593" cy="56140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2617904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person, woman, cutting, clothing&#10;&#10;Description automatically generated">
            <a:extLst>
              <a:ext uri="{FF2B5EF4-FFF2-40B4-BE49-F238E27FC236}">
                <a16:creationId xmlns:a16="http://schemas.microsoft.com/office/drawing/2014/main" id="{64BD8569-DDA0-D547-9B91-2BDD1F2111D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29D091-876C-40FE-A184-6B4EA1F16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804" y="640263"/>
            <a:ext cx="6798455" cy="1344975"/>
          </a:xfrm>
        </p:spPr>
        <p:txBody>
          <a:bodyPr>
            <a:normAutofit/>
          </a:bodyPr>
          <a:lstStyle/>
          <a:p>
            <a:r>
              <a:rPr lang="en-US" sz="4000" dirty="0" err="1"/>
              <a:t>Facteurs</a:t>
            </a:r>
            <a:r>
              <a:rPr lang="en-US" sz="4000" dirty="0"/>
              <a:t> critiques de succè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F736D9-0BE6-4212-9AD8-DA400838D6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4109" y="2121763"/>
            <a:ext cx="6940547" cy="3773010"/>
          </a:xfrm>
        </p:spPr>
        <p:txBody>
          <a:bodyPr>
            <a:noAutofit/>
          </a:bodyPr>
          <a:lstStyle/>
          <a:p>
            <a:pPr>
              <a:buFont typeface="Wingdings" pitchFamily="2" charset="2"/>
              <a:buChar char="ü"/>
            </a:pPr>
            <a:r>
              <a:rPr lang="en-GB" sz="2400" dirty="0" err="1"/>
              <a:t>Penser</a:t>
            </a:r>
            <a:r>
              <a:rPr lang="en-GB" sz="2400" dirty="0"/>
              <a:t> « </a:t>
            </a:r>
            <a:r>
              <a:rPr lang="en-GB" sz="2400" dirty="0" err="1"/>
              <a:t>prévention</a:t>
            </a:r>
            <a:r>
              <a:rPr lang="en-GB" sz="2400" dirty="0"/>
              <a:t> »
</a:t>
            </a:r>
            <a:r>
              <a:rPr lang="en-GB" sz="2400" dirty="0" err="1"/>
              <a:t>Joindre</a:t>
            </a:r>
            <a:r>
              <a:rPr lang="en-GB" sz="2400" dirty="0"/>
              <a:t> le </a:t>
            </a:r>
            <a:r>
              <a:rPr lang="en-GB" sz="2400" dirty="0" err="1"/>
              <a:t>geste</a:t>
            </a:r>
            <a:r>
              <a:rPr lang="en-GB" sz="2400" dirty="0"/>
              <a:t> </a:t>
            </a:r>
            <a:r>
              <a:rPr lang="en-GB" sz="2400" dirty="0" err="1"/>
              <a:t>à</a:t>
            </a:r>
            <a:r>
              <a:rPr lang="en-GB" sz="2400" dirty="0"/>
              <a:t> la parole – commencer par le haut! “Walk the Talk”
Commencer par un CHECK-UP
</a:t>
            </a:r>
            <a:r>
              <a:rPr lang="en-GB" sz="2400" dirty="0" err="1"/>
              <a:t>Feuille</a:t>
            </a:r>
            <a:r>
              <a:rPr lang="en-GB" sz="2400" dirty="0"/>
              <a:t> de route </a:t>
            </a:r>
            <a:r>
              <a:rPr lang="en-GB" sz="2400" dirty="0" err="1"/>
              <a:t>stratégique</a:t>
            </a:r>
            <a:r>
              <a:rPr lang="en-GB" sz="2400" dirty="0"/>
              <a:t>
</a:t>
            </a:r>
            <a:r>
              <a:rPr lang="en-GB" sz="2400" dirty="0" err="1"/>
              <a:t>Créer</a:t>
            </a:r>
            <a:r>
              <a:rPr lang="en-GB" sz="2400" dirty="0"/>
              <a:t> </a:t>
            </a:r>
            <a:r>
              <a:rPr lang="en-GB" sz="2400" dirty="0" err="1"/>
              <a:t>une</a:t>
            </a:r>
            <a:r>
              <a:rPr lang="en-GB" sz="2400" dirty="0"/>
              <a:t> « image de marque »
</a:t>
            </a:r>
            <a:r>
              <a:rPr lang="en-GB" sz="2400" dirty="0" err="1"/>
              <a:t>Recruter</a:t>
            </a:r>
            <a:r>
              <a:rPr lang="en-GB" sz="2400" dirty="0"/>
              <a:t> un </a:t>
            </a:r>
            <a:r>
              <a:rPr lang="en-GB" sz="2400" dirty="0" err="1"/>
              <a:t>réseau</a:t>
            </a:r>
            <a:r>
              <a:rPr lang="en-GB" sz="2400" dirty="0"/>
              <a:t> de sponsors/</a:t>
            </a:r>
            <a:r>
              <a:rPr lang="en-GB" sz="2400" dirty="0" err="1"/>
              <a:t>ambassadeurs</a:t>
            </a:r>
            <a:r>
              <a:rPr lang="en-GB" sz="2400" dirty="0"/>
              <a:t> internes (DEI)
</a:t>
            </a:r>
            <a:r>
              <a:rPr lang="en-GB" sz="2400" dirty="0" err="1"/>
              <a:t>Communiquer</a:t>
            </a:r>
            <a:r>
              <a:rPr lang="en-GB" sz="2400" dirty="0"/>
              <a:t> de manière </a:t>
            </a:r>
            <a:r>
              <a:rPr lang="en-GB" sz="2400" dirty="0" err="1"/>
              <a:t>appropriée</a:t>
            </a:r>
            <a:r>
              <a:rPr lang="en-GB" sz="2400" dirty="0"/>
              <a:t> (DEI)</a:t>
            </a:r>
            <a:endParaRPr lang="en-CH" altLang="en-CH" sz="2400" dirty="0"/>
          </a:p>
        </p:txBody>
      </p:sp>
    </p:spTree>
    <p:extLst>
      <p:ext uri="{BB962C8B-B14F-4D97-AF65-F5344CB8AC3E}">
        <p14:creationId xmlns:p14="http://schemas.microsoft.com/office/powerpoint/2010/main" val="899301229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1FCD88-1428-5D4A-AF10-4CC1CE2BAF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741" y="620392"/>
            <a:ext cx="3808268" cy="5504688"/>
          </a:xfrm>
        </p:spPr>
        <p:txBody>
          <a:bodyPr>
            <a:normAutofit fontScale="90000"/>
          </a:bodyPr>
          <a:lstStyle/>
          <a:p>
            <a:r>
              <a:rPr lang="en-CH" sz="4000" dirty="0"/>
              <a:t>Global Wellness Institute </a:t>
            </a:r>
            <a:br>
              <a:rPr lang="en-CH" sz="4000" dirty="0"/>
            </a:br>
            <a:br>
              <a:rPr lang="en-CH" sz="4000" dirty="0"/>
            </a:br>
            <a:r>
              <a:rPr lang="en-GB" sz="4000" dirty="0"/>
              <a:t>Workplace Wellbeing Initiative</a:t>
            </a:r>
            <a:br>
              <a:rPr lang="en-GB" sz="4000" dirty="0"/>
            </a:br>
            <a:br>
              <a:rPr lang="en-GB" sz="4000" dirty="0">
                <a:solidFill>
                  <a:schemeClr val="accent1"/>
                </a:solidFill>
              </a:rPr>
            </a:br>
            <a:r>
              <a:rPr lang="en-GB" sz="4000" dirty="0">
                <a:solidFill>
                  <a:schemeClr val="accent1"/>
                </a:solidFill>
                <a:hlinkClick r:id="rId3"/>
              </a:rPr>
              <a:t>Download Return to Work Standards</a:t>
            </a:r>
            <a:endParaRPr lang="en-CH" sz="4000" dirty="0">
              <a:solidFill>
                <a:schemeClr val="accent1"/>
              </a:solidFill>
            </a:endParaRPr>
          </a:p>
        </p:txBody>
      </p:sp>
      <p:graphicFrame>
        <p:nvGraphicFramePr>
          <p:cNvPr id="20" name="Content Placeholder 2">
            <a:extLst>
              <a:ext uri="{FF2B5EF4-FFF2-40B4-BE49-F238E27FC236}">
                <a16:creationId xmlns:a16="http://schemas.microsoft.com/office/drawing/2014/main" id="{36D992FD-7CE4-862A-3E74-26747871C03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81798549"/>
              </p:ext>
            </p:extLst>
          </p:nvPr>
        </p:nvGraphicFramePr>
        <p:xfrm>
          <a:off x="5093208" y="620392"/>
          <a:ext cx="6263640" cy="5504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6" name="Picture 5" descr="Logo&#10;&#10;Description automatically generated with medium confidence">
            <a:extLst>
              <a:ext uri="{FF2B5EF4-FFF2-40B4-BE49-F238E27FC236}">
                <a16:creationId xmlns:a16="http://schemas.microsoft.com/office/drawing/2014/main" id="{22E7254A-99A3-FC4E-AB4D-0DD262BA29E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19192" y="5763102"/>
            <a:ext cx="4003061" cy="723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209954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Wood human figure">
            <a:extLst>
              <a:ext uri="{FF2B5EF4-FFF2-40B4-BE49-F238E27FC236}">
                <a16:creationId xmlns:a16="http://schemas.microsoft.com/office/drawing/2014/main" id="{ED7E0EDE-71B4-6C27-96A5-EB3D274DF5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6" name="Rectangle 17">
            <a:extLst>
              <a:ext uri="{FF2B5EF4-FFF2-40B4-BE49-F238E27FC236}">
                <a16:creationId xmlns:a16="http://schemas.microsoft.com/office/drawing/2014/main" id="{B4916930-E76E-4100-9DCF-4981566A37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857375" y="1885950"/>
            <a:ext cx="8505825" cy="3152775"/>
          </a:xfrm>
          <a:prstGeom prst="rect">
            <a:avLst/>
          </a:prstGeom>
          <a:solidFill>
            <a:schemeClr val="bg1">
              <a:alpha val="75000"/>
            </a:schemeClr>
          </a:solidFill>
          <a:ln w="63500" cmpd="dbl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985147-CCE1-264E-8803-2F0D4C4FD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6475" y="2247900"/>
            <a:ext cx="7581900" cy="2514600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/>
            <a:r>
              <a:rPr lang="en-US" sz="6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Qu’allez-vous</a:t>
            </a:r>
            <a:r>
              <a:rPr lang="en-US" sz="6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faire?
</a:t>
            </a:r>
          </a:p>
        </p:txBody>
      </p:sp>
    </p:spTree>
    <p:extLst>
      <p:ext uri="{BB962C8B-B14F-4D97-AF65-F5344CB8AC3E}">
        <p14:creationId xmlns:p14="http://schemas.microsoft.com/office/powerpoint/2010/main" val="1671738187"/>
      </p:ext>
    </p:extLst>
  </p:cSld>
  <p:clrMapOvr>
    <a:masterClrMapping/>
  </p:clrMapOvr>
  <p:transition spd="slow">
    <p:push dir="u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78F297A-66DA-5A46-B671-8AB13E06DE57}"/>
              </a:ext>
            </a:extLst>
          </p:cNvPr>
          <p:cNvSpPr txBox="1"/>
          <p:nvPr/>
        </p:nvSpPr>
        <p:spPr>
          <a:xfrm>
            <a:off x="925552" y="4100429"/>
            <a:ext cx="463300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sz="280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kocher@whealthness.ch</a:t>
            </a:r>
            <a:endParaRPr lang="en-CH" sz="2800" dirty="0">
              <a:solidFill>
                <a:schemeClr val="bg1"/>
              </a:solidFill>
            </a:endParaRPr>
          </a:p>
          <a:p>
            <a:r>
              <a:rPr lang="en-GB" sz="2800" dirty="0" err="1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</a:t>
            </a:r>
            <a:r>
              <a:rPr lang="en-CH" sz="2800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althness.ch</a:t>
            </a:r>
            <a:endParaRPr lang="en-CH" sz="2800" dirty="0">
              <a:solidFill>
                <a:schemeClr val="bg1"/>
              </a:solidFill>
            </a:endParaRPr>
          </a:p>
        </p:txBody>
      </p: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6F7C82A0-EB19-964F-E443-5024AA29E4C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58561" y="219461"/>
            <a:ext cx="7943666" cy="4039049"/>
          </a:xfrm>
          <a:prstGeom prst="rect">
            <a:avLst/>
          </a:prstGeom>
        </p:spPr>
      </p:pic>
      <p:pic>
        <p:nvPicPr>
          <p:cNvPr id="4" name="Picture 3" descr="Qr code&#10;&#10;Description automatically generated">
            <a:extLst>
              <a:ext uri="{FF2B5EF4-FFF2-40B4-BE49-F238E27FC236}">
                <a16:creationId xmlns:a16="http://schemas.microsoft.com/office/drawing/2014/main" id="{A75B61E9-2AA4-6DB7-BDB0-FB197A1497A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8087" y="0"/>
            <a:ext cx="4957366" cy="514939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DD82FB7-179A-1FD7-EB09-6184DDF6270C}"/>
              </a:ext>
            </a:extLst>
          </p:cNvPr>
          <p:cNvSpPr/>
          <p:nvPr/>
        </p:nvSpPr>
        <p:spPr>
          <a:xfrm>
            <a:off x="7268087" y="5054536"/>
            <a:ext cx="4957366" cy="1803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82C391F-0C1F-764E-AAD0-7EEB8DE61278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92875" y="5856158"/>
            <a:ext cx="2123448" cy="61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946506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DAF1966E-FD40-4A4A-B61B-C4DF7FA05F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047BFA19-D45E-416B-A404-7AF2F3F270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58209" y="0"/>
            <a:ext cx="11167447" cy="2018806"/>
          </a:xfrm>
          <a:prstGeom prst="rect">
            <a:avLst/>
          </a:prstGeom>
          <a:ln w="9525">
            <a:solidFill>
              <a:srgbClr val="E1E1E1"/>
            </a:solidFill>
          </a:ln>
          <a:effectLst>
            <a:outerShdw blurRad="508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8E0105E7-23DB-4CF2-8258-FF47C7620F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66928" y="0"/>
            <a:ext cx="11155680" cy="2011680"/>
          </a:xfrm>
          <a:prstGeom prst="rect">
            <a:avLst/>
          </a:pr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BCA222-3C0E-2A4E-A60D-66D95352B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5568" y="548640"/>
            <a:ext cx="10168128" cy="1179576"/>
          </a:xfrm>
        </p:spPr>
        <p:txBody>
          <a:bodyPr>
            <a:normAutofit/>
          </a:bodyPr>
          <a:lstStyle/>
          <a:p>
            <a:r>
              <a:rPr lang="en-GB" sz="4000" dirty="0" err="1"/>
              <a:t>Références</a:t>
            </a:r>
            <a:r>
              <a:rPr lang="en-GB" sz="4000" dirty="0"/>
              <a:t> et </a:t>
            </a:r>
            <a:r>
              <a:rPr lang="en-GB" sz="4000" dirty="0" err="1"/>
              <a:t>Ressources</a:t>
            </a:r>
            <a:endParaRPr lang="en-CH" sz="40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4B4F7D-14B2-478B-8BF5-01E4E0C5D2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98834" y="758952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470583-3C1D-F740-BC7C-364357B2AF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5568" y="2018806"/>
            <a:ext cx="10607040" cy="4158157"/>
          </a:xfrm>
        </p:spPr>
        <p:txBody>
          <a:bodyPr>
            <a:noAutofit/>
          </a:bodyPr>
          <a:lstStyle/>
          <a:p>
            <a:pPr>
              <a:spcBef>
                <a:spcPts val="200"/>
              </a:spcBef>
              <a:buFont typeface="Wingdings" pitchFamily="2" charset="2"/>
              <a:buChar char="ü"/>
            </a:pPr>
            <a:endParaRPr lang="en-GB" sz="1050" dirty="0"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b="1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OWNLOAD: https://www.who.int/publications/i/item/healthy-workplaces-a-model-for-action</a:t>
            </a:r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endParaRPr lang="en-GB" sz="1050" dirty="0"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hrexecutive.com/heres-how-employers-are-changing-benefits-due-to-covid-19/</a:t>
            </a:r>
            <a:endParaRPr lang="en-GB" sz="1050" dirty="0"/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gallup.com/workplace/237059/employee-burnout-part-main-causes.aspx</a:t>
            </a:r>
            <a:endParaRPr lang="en-GB" sz="1050" dirty="0"/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eforum.org/agenda/2019/10/burnout-mental-health-pandemic/</a:t>
            </a:r>
            <a:endParaRPr lang="en-GB" sz="1050" dirty="0"/>
          </a:p>
          <a:p>
            <a:pPr lvl="0">
              <a:spcBef>
                <a:spcPts val="200"/>
              </a:spcBef>
              <a:buFont typeface="Wingdings" pitchFamily="2" charset="2"/>
              <a:buChar char="ü"/>
              <a:defRPr/>
            </a:pPr>
            <a:r>
              <a:rPr lang="en-GB" sz="105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omen are more likely to experience burnout</a:t>
            </a:r>
            <a:endParaRPr lang="en-GB" sz="1050" dirty="0"/>
          </a:p>
          <a:p>
            <a:pPr lvl="0">
              <a:spcBef>
                <a:spcPts val="200"/>
              </a:spcBef>
              <a:buFont typeface="Wingdings" pitchFamily="2" charset="2"/>
              <a:buChar char="ü"/>
              <a:defRPr/>
            </a:pPr>
            <a:r>
              <a:rPr lang="en-GB" sz="1050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orkplaceoptions.com/blog/burnout-a-new-definition-for-a-global-issue/</a:t>
            </a:r>
            <a:endParaRPr lang="en-GB" sz="1050" dirty="0"/>
          </a:p>
          <a:p>
            <a:pPr lvl="0">
              <a:spcBef>
                <a:spcPts val="200"/>
              </a:spcBef>
              <a:buFont typeface="Wingdings" pitchFamily="2" charset="2"/>
              <a:buChar char="ü"/>
              <a:defRPr/>
            </a:pPr>
            <a:r>
              <a:rPr lang="en-GB" sz="1050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ho.int/news/item/28-05-2019-burn-out-an-occupational-phenomenon-international-classification-of-diseases</a:t>
            </a:r>
            <a:endParaRPr lang="en-GB" sz="1050" dirty="0"/>
          </a:p>
          <a:p>
            <a:pPr lvl="0">
              <a:spcBef>
                <a:spcPts val="200"/>
              </a:spcBef>
              <a:buFont typeface="Wingdings" pitchFamily="2" charset="2"/>
              <a:buChar char="ü"/>
              <a:defRPr/>
            </a:pPr>
            <a:r>
              <a:rPr lang="en-GB" sz="1050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ehstoday.com/health/article/21916768/euosha-addresses-workplace-stress-in-new-eguide</a:t>
            </a:r>
            <a:r>
              <a:rPr lang="en-GB" sz="1050" dirty="0"/>
              <a:t>)</a:t>
            </a:r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2.deloitte.com/us/en/pages/about-deloitte/articles/burnout-survey.html</a:t>
            </a:r>
            <a:endParaRPr lang="en-GB" sz="1050" dirty="0"/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independent.co.uk/life-style/work-burnout-men-women-positions-power-self-esteem-family-balance-study-montreal-a8377096.html</a:t>
            </a:r>
            <a:endParaRPr lang="en-GB" sz="1050" dirty="0"/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ho.int/news/item/28-05-2019-burn-out-an-occupational-phenomenon-international-classification-of-diseases</a:t>
            </a:r>
            <a:endParaRPr lang="en-GB" sz="1050" dirty="0"/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romotionsante.ch/qui-sommes-nous/medias/communiques-de-presse/article/job-stress-index-2020.html</a:t>
            </a:r>
            <a:endParaRPr lang="en-GB" sz="1050" dirty="0"/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CH" sz="1050" dirty="0"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esundheitsfoerderung.ch/assets/public/documents/en/5-grundlagen/publikationen/bgm/berichte/Report_007_HPS_2018-11_-_WHM_-_Principles_and_Trends.pdf</a:t>
            </a:r>
            <a:endParaRPr lang="en-CH" sz="1050" dirty="0"/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gallup.com/workplace/247391/fixable-problem-costs-businesses-trillion.aspx</a:t>
            </a:r>
            <a:r>
              <a:rPr lang="en-GB" sz="1050" dirty="0"/>
              <a:t> </a:t>
            </a:r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mercer.us/our-thinking/healthcare/the-surprisingly-strong-connection-between-well-being-and-turnover.html</a:t>
            </a:r>
            <a:endParaRPr lang="en-GB" sz="1050" dirty="0"/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limeade.com/wp-content/uploads/2016/11/QW-LimeadeWellBeingEngagementReport-final.pdf</a:t>
            </a:r>
            <a:endParaRPr lang="en-GB" sz="1050" dirty="0"/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virginpulse.com/press/2017-state-industry-survey-results-reveal-wellbeing-key-driver-workplace-culture-employee-engagement/</a:t>
            </a:r>
            <a:endParaRPr lang="en-GB" sz="1050" dirty="0"/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gallup.com/workplace/236366/right-culture-not-employee-satisfaction.aspx</a:t>
            </a:r>
            <a:endParaRPr lang="en-GB" sz="1050" dirty="0"/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intelligence.weforum.org/topics/a1Gb0000000LHRxEAO?tab=publications</a:t>
            </a:r>
            <a:endParaRPr lang="en-GB" sz="1050" dirty="0"/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2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cbi.nlm.nih.gov/pmc/articles/PMC4822264/</a:t>
            </a:r>
            <a:endParaRPr lang="en-GB" sz="1050" dirty="0"/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ellright.com/</a:t>
            </a:r>
            <a:endParaRPr lang="en-GB" sz="1050" dirty="0"/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2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nnect.virginpulse.com/files/Whitepaper_Wellbeing_By_the_Generations.pdf</a:t>
            </a:r>
            <a:endParaRPr lang="en-GB" sz="1050" dirty="0"/>
          </a:p>
          <a:p>
            <a:pPr>
              <a:spcBef>
                <a:spcPts val="200"/>
              </a:spcBef>
              <a:buFont typeface="Wingdings" pitchFamily="2" charset="2"/>
              <a:buChar char="ü"/>
            </a:pPr>
            <a:r>
              <a:rPr lang="en-GB" sz="1050" dirty="0">
                <a:hlinkClick r:id="rId2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cbi.nlm.nih.gov/pmc/articles/PMC7338126/</a:t>
            </a:r>
            <a:r>
              <a:rPr lang="en-GB" sz="1050" dirty="0"/>
              <a:t> </a:t>
            </a:r>
            <a:endParaRPr lang="en-CH" sz="105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B75D5A-EFB6-F545-A696-EADE1605F1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40496" y="6356350"/>
            <a:ext cx="2743200" cy="365125"/>
          </a:xfrm>
        </p:spPr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F2CF28F-3767-8F46-A441-28A7A53A4DAE}" type="slidenum">
              <a:rPr kumimoji="0" lang="en-CH" b="0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CH" b="0" i="0" u="none" strike="noStrike" kern="1200" cap="none" spc="0" normalizeH="0" baseline="0" noProof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3229702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DE9C66-EAB4-EE76-C2A9-D349A0127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Description Cour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E278FA-BE18-7626-4711-CFBF6E0C0E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000" b="1" dirty="0"/>
              <a:t>Le Bien-</a:t>
            </a:r>
            <a:r>
              <a:rPr lang="en-GB" sz="2000" b="1" dirty="0" err="1"/>
              <a:t>Etre</a:t>
            </a:r>
            <a:r>
              <a:rPr lang="en-GB" sz="2000" b="1" dirty="0"/>
              <a:t> au Travail 2023 :</a:t>
            </a:r>
            <a:br>
              <a:rPr lang="en-GB" sz="2000" b="1" dirty="0"/>
            </a:br>
            <a:r>
              <a:rPr lang="en-GB" sz="1800" b="1" dirty="0"/>
              <a:t>Tendances — Business Case — Solutions</a:t>
            </a:r>
            <a:r>
              <a:rPr lang="en-GB" sz="2000" dirty="0"/>
              <a:t>
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La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pandémie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de COVID-19 a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incité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la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majorite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des organisations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à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omprendre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qu’il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est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bon pour les affaires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d’avoir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des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employés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qui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ont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en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bonne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anté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physique,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émotionnelle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ociale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et financière.</a:t>
            </a:r>
          </a:p>
          <a:p>
            <a:pPr marL="0" indent="0">
              <a:buNone/>
            </a:pP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Aujourd’hui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, le bien-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être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des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employés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a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été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élevé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au centre de la culture, des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stratégies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et des programmes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organisationnels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0" indent="0">
              <a:buNone/>
            </a:pP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Dans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cette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session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animée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et interactive,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découvrez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les tendances et le business case pour le bien-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être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au travail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en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2023 et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apprendre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comment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vous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pouvez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le lancer dans </a:t>
            </a:r>
            <a:r>
              <a:rPr lang="en-GB" sz="1800" spc="55" dirty="0" err="1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votre</a:t>
            </a:r>
            <a:r>
              <a:rPr lang="en-GB" sz="1800" spc="55" dirty="0">
                <a:latin typeface="+mn-lt"/>
                <a:ea typeface="Times New Roman" panose="02020603050405020304" pitchFamily="18" charset="0"/>
                <a:cs typeface="Times New Roman" panose="02020603050405020304" pitchFamily="18" charset="0"/>
              </a:rPr>
              <a:t> organisation.</a:t>
            </a:r>
            <a:endParaRPr lang="en-CH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240210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9">
            <a:extLst>
              <a:ext uri="{FF2B5EF4-FFF2-40B4-BE49-F238E27FC236}">
                <a16:creationId xmlns:a16="http://schemas.microsoft.com/office/drawing/2014/main" id="{C5E6CFF1-2F42-4E10-9A97-F116F46F53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group of people discussing something&#10;&#10;Description automatically generated with low confidence">
            <a:extLst>
              <a:ext uri="{FF2B5EF4-FFF2-40B4-BE49-F238E27FC236}">
                <a16:creationId xmlns:a16="http://schemas.microsoft.com/office/drawing/2014/main" id="{3EA99183-B758-7645-97D9-39A8E8219BE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35000"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72A952-95D1-3142-AB6A-D7736FA939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1065862"/>
            <a:ext cx="3313164" cy="4726276"/>
          </a:xfrm>
        </p:spPr>
        <p:txBody>
          <a:bodyPr>
            <a:normAutofit/>
          </a:bodyPr>
          <a:lstStyle/>
          <a:p>
            <a:pPr algn="r"/>
            <a:r>
              <a:rPr lang="en-CH" sz="4000" dirty="0">
                <a:solidFill>
                  <a:srgbClr val="FFFFFF"/>
                </a:solidFill>
              </a:rPr>
              <a:t>Aujourd’hui</a:t>
            </a:r>
          </a:p>
        </p:txBody>
      </p:sp>
      <p:cxnSp>
        <p:nvCxnSpPr>
          <p:cNvPr id="15" name="Straight Connector 11">
            <a:extLst>
              <a:ext uri="{FF2B5EF4-FFF2-40B4-BE49-F238E27FC236}">
                <a16:creationId xmlns:a16="http://schemas.microsoft.com/office/drawing/2014/main" id="{67182200-4859-4C8D-BCBB-55B245C28B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3372" y="2286000"/>
            <a:ext cx="0" cy="2286000"/>
          </a:xfrm>
          <a:prstGeom prst="line">
            <a:avLst/>
          </a:prstGeom>
          <a:ln w="1587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736836-5CBB-C64B-AE21-B57D10D08C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5379" y="1065862"/>
            <a:ext cx="6662544" cy="4726276"/>
          </a:xfrm>
        </p:spPr>
        <p:txBody>
          <a:bodyPr anchor="ctr">
            <a:noAutofit/>
          </a:bodyPr>
          <a:lstStyle/>
          <a:p>
            <a:pPr marL="571500" indent="-571500">
              <a:buFont typeface="+mj-lt"/>
              <a:buAutoNum type="romanUcPeriod"/>
            </a:pPr>
            <a:r>
              <a:rPr lang="fr-CH" dirty="0">
                <a:solidFill>
                  <a:srgbClr val="FFFFFF"/>
                </a:solidFill>
              </a:rPr>
              <a:t>Bien-Etre au Travail </a:t>
            </a:r>
            <a:r>
              <a:rPr lang="en-CH" dirty="0">
                <a:solidFill>
                  <a:srgbClr val="FFFFFF"/>
                </a:solidFill>
              </a:rPr>
              <a:t>2023, Tendences &amp; Business Case</a:t>
            </a:r>
          </a:p>
          <a:p>
            <a:pPr marL="571500" indent="-571500">
              <a:buFont typeface="+mj-lt"/>
              <a:buAutoNum type="romanUcPeriod"/>
            </a:pPr>
            <a:r>
              <a:rPr lang="en-GB" dirty="0" err="1">
                <a:solidFill>
                  <a:srgbClr val="FFFFFF"/>
                </a:solidFill>
              </a:rPr>
              <a:t>Pourquoi</a:t>
            </a:r>
            <a:r>
              <a:rPr lang="en-GB" dirty="0">
                <a:solidFill>
                  <a:srgbClr val="FFFFFF"/>
                </a:solidFill>
              </a:rPr>
              <a:t> le bien-</a:t>
            </a:r>
            <a:r>
              <a:rPr lang="en-GB" dirty="0" err="1">
                <a:solidFill>
                  <a:srgbClr val="FFFFFF"/>
                </a:solidFill>
              </a:rPr>
              <a:t>être</a:t>
            </a:r>
            <a:r>
              <a:rPr lang="en-GB" dirty="0">
                <a:solidFill>
                  <a:srgbClr val="FFFFFF"/>
                </a:solidFill>
              </a:rPr>
              <a:t> mental</a:t>
            </a:r>
            <a:r>
              <a:rPr lang="en-CH" dirty="0">
                <a:solidFill>
                  <a:srgbClr val="FFFFFF"/>
                </a:solidFill>
              </a:rPr>
              <a:t>?</a:t>
            </a:r>
          </a:p>
          <a:p>
            <a:pPr marL="571500" indent="-571500">
              <a:buFont typeface="+mj-lt"/>
              <a:buAutoNum type="romanUcPeriod"/>
            </a:pPr>
            <a:r>
              <a:rPr lang="en-GB" dirty="0" err="1">
                <a:solidFill>
                  <a:srgbClr val="FFFFFF"/>
                </a:solidFill>
              </a:rPr>
              <a:t>Pourquoi</a:t>
            </a:r>
            <a:r>
              <a:rPr lang="en-GB" dirty="0">
                <a:solidFill>
                  <a:srgbClr val="FFFFFF"/>
                </a:solidFill>
              </a:rPr>
              <a:t> le bien-</a:t>
            </a:r>
            <a:r>
              <a:rPr lang="en-GB" dirty="0" err="1">
                <a:solidFill>
                  <a:srgbClr val="FFFFFF"/>
                </a:solidFill>
              </a:rPr>
              <a:t>être</a:t>
            </a:r>
            <a:r>
              <a:rPr lang="en-GB" dirty="0">
                <a:solidFill>
                  <a:srgbClr val="FFFFFF"/>
                </a:solidFill>
              </a:rPr>
              <a:t> physique</a:t>
            </a:r>
            <a:r>
              <a:rPr lang="en-CH" dirty="0">
                <a:solidFill>
                  <a:srgbClr val="FFFFFF"/>
                </a:solidFill>
              </a:rPr>
              <a:t>?</a:t>
            </a:r>
          </a:p>
          <a:p>
            <a:pPr marL="571500" indent="-571500">
              <a:buFont typeface="+mj-lt"/>
              <a:buAutoNum type="romanUcPeriod"/>
            </a:pPr>
            <a:r>
              <a:rPr lang="en-GB" dirty="0">
                <a:solidFill>
                  <a:srgbClr val="FFFFFF"/>
                </a:solidFill>
              </a:rPr>
              <a:t>Par </a:t>
            </a:r>
            <a:r>
              <a:rPr lang="en-GB" dirty="0" err="1">
                <a:solidFill>
                  <a:srgbClr val="FFFFFF"/>
                </a:solidFill>
              </a:rPr>
              <a:t>où</a:t>
            </a:r>
            <a:r>
              <a:rPr lang="en-GB" dirty="0">
                <a:solidFill>
                  <a:srgbClr val="FFFFFF"/>
                </a:solidFill>
              </a:rPr>
              <a:t> commencer</a:t>
            </a:r>
            <a:r>
              <a:rPr lang="en-CH" dirty="0">
                <a:solidFill>
                  <a:srgbClr val="FFFFFF"/>
                </a:solidFill>
              </a:rPr>
              <a:t>?</a:t>
            </a:r>
          </a:p>
          <a:p>
            <a:pPr marL="571500" indent="-571500">
              <a:buFont typeface="+mj-lt"/>
              <a:buAutoNum type="romanUcPeriod"/>
            </a:pPr>
            <a:r>
              <a:rPr lang="en-GB" dirty="0" err="1">
                <a:solidFill>
                  <a:srgbClr val="FFFFFF"/>
                </a:solidFill>
              </a:rPr>
              <a:t>Ressources</a:t>
            </a:r>
            <a:endParaRPr lang="fr-CH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8070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eated people in rows indoors, with one arm raised, facing standing presenter in formal dress shirt and tie">
            <a:extLst>
              <a:ext uri="{FF2B5EF4-FFF2-40B4-BE49-F238E27FC236}">
                <a16:creationId xmlns:a16="http://schemas.microsoft.com/office/drawing/2014/main" id="{E99BF233-E9A2-C548-90E4-F6D6B2E3FFB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321176"/>
            <a:ext cx="12191980" cy="685799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0262CD-7A77-F248-9B8D-D79620FB3F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804" y="640263"/>
            <a:ext cx="7197772" cy="1344975"/>
          </a:xfrm>
        </p:spPr>
        <p:txBody>
          <a:bodyPr>
            <a:normAutofit/>
          </a:bodyPr>
          <a:lstStyle/>
          <a:p>
            <a:r>
              <a:rPr lang="en-GB" sz="3600" dirty="0"/>
              <a:t>Le Bien-</a:t>
            </a:r>
            <a:r>
              <a:rPr lang="en-GB" sz="3600" dirty="0" err="1"/>
              <a:t>être</a:t>
            </a:r>
            <a:r>
              <a:rPr lang="en-GB" sz="3600" dirty="0"/>
              <a:t> au travail 2023
</a:t>
            </a:r>
            <a:endParaRPr lang="en-CH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EC372-4FF1-1E47-88B2-A13D8C1E97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4109" y="2121763"/>
            <a:ext cx="6620505" cy="3773010"/>
          </a:xfrm>
        </p:spPr>
        <p:txBody>
          <a:bodyPr>
            <a:normAutofit/>
          </a:bodyPr>
          <a:lstStyle/>
          <a:p>
            <a:pPr>
              <a:buFont typeface="Wingdings" pitchFamily="2" charset="2"/>
              <a:buChar char="ü"/>
            </a:pPr>
            <a:r>
              <a:rPr lang="en-GB" sz="2000" b="1" dirty="0"/>
              <a:t>78% </a:t>
            </a:r>
            <a:r>
              <a:rPr lang="en-GB" sz="2000" dirty="0"/>
              <a:t>“critique”</a:t>
            </a:r>
          </a:p>
          <a:p>
            <a:pPr>
              <a:buFont typeface="Wingdings" pitchFamily="2" charset="2"/>
              <a:buChar char="ü"/>
            </a:pPr>
            <a:r>
              <a:rPr lang="en-GB" sz="2000" b="1" dirty="0"/>
              <a:t>63% </a:t>
            </a:r>
            <a:r>
              <a:rPr lang="en-GB" sz="2000" dirty="0"/>
              <a:t>Les </a:t>
            </a:r>
            <a:r>
              <a:rPr lang="en-GB" sz="2000" dirty="0" err="1"/>
              <a:t>entreprises</a:t>
            </a:r>
            <a:r>
              <a:rPr lang="en-GB" sz="2000" dirty="0"/>
              <a:t> </a:t>
            </a:r>
            <a:r>
              <a:rPr lang="en-GB" sz="2000" dirty="0" err="1"/>
              <a:t>ayant</a:t>
            </a:r>
            <a:r>
              <a:rPr lang="en-GB" sz="2000" dirty="0"/>
              <a:t> des programmes de bien-</a:t>
            </a:r>
            <a:r>
              <a:rPr lang="en-GB" sz="2000" dirty="0" err="1"/>
              <a:t>être</a:t>
            </a:r>
            <a:r>
              <a:rPr lang="en-GB" sz="2000" dirty="0"/>
              <a:t> font </a:t>
            </a:r>
            <a:r>
              <a:rPr lang="en-GB" sz="2000" dirty="0" err="1"/>
              <a:t>état</a:t>
            </a:r>
            <a:r>
              <a:rPr lang="en-GB" sz="2000" dirty="0"/>
              <a:t> </a:t>
            </a:r>
            <a:r>
              <a:rPr lang="en-GB" sz="2000" dirty="0" err="1"/>
              <a:t>d’une</a:t>
            </a:r>
            <a:r>
              <a:rPr lang="en-GB" sz="2000" dirty="0"/>
              <a:t> </a:t>
            </a:r>
            <a:r>
              <a:rPr lang="en-GB" sz="2000" dirty="0" err="1"/>
              <a:t>meilleure</a:t>
            </a:r>
            <a:r>
              <a:rPr lang="en-GB" sz="2000" dirty="0"/>
              <a:t> </a:t>
            </a:r>
            <a:r>
              <a:rPr lang="en-GB" sz="2000" dirty="0" err="1"/>
              <a:t>viabilité</a:t>
            </a:r>
            <a:r>
              <a:rPr lang="en-GB" sz="2000" dirty="0"/>
              <a:t> financière et </a:t>
            </a:r>
            <a:r>
              <a:rPr lang="en-GB" sz="2000" dirty="0" err="1"/>
              <a:t>d’une</a:t>
            </a:r>
            <a:r>
              <a:rPr lang="en-GB" sz="2000" dirty="0"/>
              <a:t> </a:t>
            </a:r>
            <a:r>
              <a:rPr lang="en-GB" sz="2000" dirty="0" err="1"/>
              <a:t>meilleure</a:t>
            </a:r>
            <a:r>
              <a:rPr lang="en-GB" sz="2000" dirty="0"/>
              <a:t> </a:t>
            </a:r>
            <a:r>
              <a:rPr lang="en-GB" sz="2000" dirty="0" err="1"/>
              <a:t>croissance</a:t>
            </a:r>
            <a:endParaRPr lang="en-GB" sz="2000" dirty="0"/>
          </a:p>
          <a:p>
            <a:pPr>
              <a:buFont typeface="Wingdings" pitchFamily="2" charset="2"/>
              <a:buChar char="ü"/>
            </a:pPr>
            <a:r>
              <a:rPr lang="en-GB" sz="2000" b="1" dirty="0"/>
              <a:t>53% </a:t>
            </a:r>
            <a:r>
              <a:rPr lang="en-GB" sz="2000" dirty="0"/>
              <a:t>aide </a:t>
            </a:r>
            <a:r>
              <a:rPr lang="en-GB" sz="2000" dirty="0" err="1"/>
              <a:t>à</a:t>
            </a:r>
            <a:r>
              <a:rPr lang="en-GB" sz="2000" dirty="0"/>
              <a:t> </a:t>
            </a:r>
            <a:r>
              <a:rPr lang="en-GB" sz="2000" dirty="0" err="1"/>
              <a:t>attirer</a:t>
            </a:r>
            <a:r>
              <a:rPr lang="en-GB" sz="2000" dirty="0"/>
              <a:t> et </a:t>
            </a:r>
            <a:r>
              <a:rPr lang="en-GB" sz="2000" dirty="0" err="1"/>
              <a:t>à</a:t>
            </a:r>
            <a:r>
              <a:rPr lang="en-GB" sz="2000" dirty="0"/>
              <a:t> </a:t>
            </a:r>
            <a:r>
              <a:rPr lang="en-GB" sz="2000" dirty="0" err="1"/>
              <a:t>retenir</a:t>
            </a:r>
            <a:r>
              <a:rPr lang="en-GB" sz="2000" dirty="0"/>
              <a:t> les </a:t>
            </a:r>
            <a:r>
              <a:rPr lang="en-GB" sz="2000" dirty="0" err="1"/>
              <a:t>meilleurs</a:t>
            </a:r>
            <a:r>
              <a:rPr lang="en-GB" sz="2000" dirty="0"/>
              <a:t> talents</a:t>
            </a:r>
          </a:p>
          <a:p>
            <a:pPr>
              <a:buFont typeface="Wingdings" pitchFamily="2" charset="2"/>
              <a:buChar char="ü"/>
            </a:pPr>
            <a:r>
              <a:rPr lang="en-GB" sz="2000" b="1" dirty="0"/>
              <a:t>&gt; 90% </a:t>
            </a:r>
            <a:r>
              <a:rPr lang="en-GB" sz="2000" dirty="0"/>
              <a:t>des </a:t>
            </a:r>
            <a:r>
              <a:rPr lang="en-GB" sz="2000" dirty="0" err="1"/>
              <a:t>employés</a:t>
            </a:r>
            <a:r>
              <a:rPr lang="en-GB" sz="2000" dirty="0"/>
              <a:t> </a:t>
            </a:r>
            <a:r>
              <a:rPr lang="en-GB" sz="2000" dirty="0" err="1"/>
              <a:t>apprécient</a:t>
            </a:r>
            <a:r>
              <a:rPr lang="en-GB" sz="2000" dirty="0"/>
              <a:t> le </a:t>
            </a:r>
            <a:r>
              <a:rPr lang="en-GB" sz="2000" dirty="0" err="1"/>
              <a:t>soutien</a:t>
            </a:r>
            <a:r>
              <a:rPr lang="en-GB" sz="2000" dirty="0"/>
              <a:t> des </a:t>
            </a:r>
            <a:r>
              <a:rPr lang="en-GB" sz="2000" dirty="0" err="1"/>
              <a:t>dirigeants</a:t>
            </a:r>
            <a:r>
              <a:rPr lang="en-GB" sz="2000" dirty="0"/>
              <a:t> “walk the talk”</a:t>
            </a:r>
          </a:p>
          <a:p>
            <a:pPr>
              <a:buFont typeface="Wingdings" pitchFamily="2" charset="2"/>
              <a:buChar char="ü"/>
            </a:pPr>
            <a:r>
              <a:rPr lang="en-GB" sz="2000" b="1" dirty="0"/>
              <a:t>70% </a:t>
            </a:r>
            <a:r>
              <a:rPr lang="en-GB" sz="2000" dirty="0"/>
              <a:t>des </a:t>
            </a:r>
            <a:r>
              <a:rPr lang="en-GB" sz="2000" dirty="0" err="1"/>
              <a:t>employés</a:t>
            </a:r>
            <a:r>
              <a:rPr lang="en-GB" sz="2000" dirty="0"/>
              <a:t> </a:t>
            </a:r>
            <a:r>
              <a:rPr lang="en-GB" sz="2000" dirty="0" err="1"/>
              <a:t>aimeraient</a:t>
            </a:r>
            <a:r>
              <a:rPr lang="en-GB" sz="2000" dirty="0"/>
              <a:t> </a:t>
            </a:r>
            <a:r>
              <a:rPr lang="en-GB" sz="2000" dirty="0" err="1"/>
              <a:t>participer</a:t>
            </a:r>
            <a:r>
              <a:rPr lang="en-GB" sz="2000" dirty="0"/>
              <a:t> </a:t>
            </a:r>
            <a:r>
              <a:rPr lang="en-GB" sz="2000" dirty="0" err="1"/>
              <a:t>à</a:t>
            </a:r>
            <a:r>
              <a:rPr lang="en-GB" sz="2000" dirty="0"/>
              <a:t> des programmes bien-</a:t>
            </a:r>
            <a:r>
              <a:rPr lang="en-GB" sz="2000" dirty="0" err="1"/>
              <a:t>être</a:t>
            </a:r>
            <a:endParaRPr lang="en-GB" sz="2000" dirty="0"/>
          </a:p>
          <a:p>
            <a:pPr>
              <a:buFont typeface="Wingdings" pitchFamily="2" charset="2"/>
              <a:buChar char="ü"/>
            </a:pPr>
            <a:r>
              <a:rPr lang="en-US" sz="2000" b="1" dirty="0"/>
              <a:t>COVID19</a:t>
            </a:r>
            <a:r>
              <a:rPr lang="en-US" sz="2000" dirty="0"/>
              <a:t> </a:t>
            </a:r>
            <a:r>
              <a:rPr lang="en-US" sz="2000" dirty="0" err="1"/>
              <a:t>sensibilisation</a:t>
            </a:r>
            <a:r>
              <a:rPr lang="en-US" sz="2000" dirty="0"/>
              <a:t> accrue et </a:t>
            </a:r>
            <a:r>
              <a:rPr lang="en-US" sz="2000" dirty="0" err="1"/>
              <a:t>préoccupations</a:t>
            </a:r>
            <a:r>
              <a:rPr lang="en-US" sz="2000" dirty="0"/>
              <a:t> </a:t>
            </a:r>
            <a:r>
              <a:rPr lang="en-US" sz="2000" dirty="0" err="1"/>
              <a:t>en</a:t>
            </a:r>
            <a:r>
              <a:rPr lang="en-US" sz="2000" dirty="0"/>
              <a:t> matière de </a:t>
            </a:r>
            <a:r>
              <a:rPr lang="en-US" sz="2000" dirty="0" err="1"/>
              <a:t>santé</a:t>
            </a:r>
            <a:endParaRPr lang="en-CH" sz="2000" dirty="0"/>
          </a:p>
        </p:txBody>
      </p:sp>
    </p:spTree>
    <p:extLst>
      <p:ext uri="{BB962C8B-B14F-4D97-AF65-F5344CB8AC3E}">
        <p14:creationId xmlns:p14="http://schemas.microsoft.com/office/powerpoint/2010/main" val="270588753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Friends laughing">
            <a:extLst>
              <a:ext uri="{FF2B5EF4-FFF2-40B4-BE49-F238E27FC236}">
                <a16:creationId xmlns:a16="http://schemas.microsoft.com/office/drawing/2014/main" id="{9F051701-93AE-F14F-AD59-34E893C2FDE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2B1D4F77-A17C-43D7-B7FA-545148E4E9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4332307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60754E-6D41-B249-A8B6-01EC7632F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805" y="640263"/>
            <a:ext cx="3759240" cy="1344975"/>
          </a:xfrm>
        </p:spPr>
        <p:txBody>
          <a:bodyPr>
            <a:normAutofit/>
          </a:bodyPr>
          <a:lstStyle/>
          <a:p>
            <a:r>
              <a:rPr lang="en-GB" sz="3400" dirty="0"/>
              <a:t>Tendances
</a:t>
            </a:r>
            <a:endParaRPr lang="en-CH" sz="3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DBA81C-F428-9E49-BF89-1DB91D1992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4109" y="2121763"/>
            <a:ext cx="4075081" cy="3773010"/>
          </a:xfrm>
        </p:spPr>
        <p:txBody>
          <a:bodyPr>
            <a:normAutofit fontScale="92500" lnSpcReduction="10000"/>
          </a:bodyPr>
          <a:lstStyle/>
          <a:p>
            <a:pPr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ü"/>
            </a:pPr>
            <a:r>
              <a:rPr lang="en-GB" sz="2000" dirty="0" err="1"/>
              <a:t>Inclusivité</a:t>
            </a:r>
            <a:r>
              <a:rPr lang="en-GB" sz="2000" dirty="0"/>
              <a:t> — </a:t>
            </a:r>
            <a:r>
              <a:rPr lang="en-GB" sz="2000" dirty="0" err="1"/>
              <a:t>Genres,Cultures</a:t>
            </a:r>
            <a:r>
              <a:rPr lang="en-GB" sz="2000" dirty="0"/>
              <a:t>, </a:t>
            </a:r>
            <a:r>
              <a:rPr lang="en-GB" sz="2000" dirty="0" err="1"/>
              <a:t>Générations</a:t>
            </a:r>
            <a:endParaRPr lang="en-GB" sz="2000" dirty="0"/>
          </a:p>
          <a:p>
            <a:pPr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ü"/>
            </a:pPr>
            <a:r>
              <a:rPr lang="en-GB" sz="2000" dirty="0" err="1"/>
              <a:t>Santé</a:t>
            </a:r>
            <a:r>
              <a:rPr lang="en-GB" sz="2000" dirty="0"/>
              <a:t> des femmes (menopause, </a:t>
            </a:r>
            <a:r>
              <a:rPr lang="en-GB" sz="2000" dirty="0" err="1"/>
              <a:t>grossesse</a:t>
            </a:r>
            <a:r>
              <a:rPr lang="en-GB" sz="2000" dirty="0"/>
              <a:t>, etc.)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ü"/>
            </a:pPr>
            <a:r>
              <a:rPr lang="en-GB" sz="2000" dirty="0"/>
              <a:t>Bien-</a:t>
            </a:r>
            <a:r>
              <a:rPr lang="en-GB" sz="2000" dirty="0" err="1"/>
              <a:t>être</a:t>
            </a:r>
            <a:r>
              <a:rPr lang="en-GB" sz="2000" dirty="0"/>
              <a:t> mental — resilience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ü"/>
            </a:pPr>
            <a:r>
              <a:rPr lang="en-GB" sz="2000" dirty="0"/>
              <a:t>Bien-</a:t>
            </a:r>
            <a:r>
              <a:rPr lang="en-GB" sz="2000" dirty="0" err="1"/>
              <a:t>être</a:t>
            </a:r>
            <a:r>
              <a:rPr lang="en-GB" sz="2000" dirty="0"/>
              <a:t> physique — </a:t>
            </a:r>
            <a:r>
              <a:rPr lang="en-GB" sz="2000" dirty="0" err="1"/>
              <a:t>résilience</a:t>
            </a:r>
            <a:r>
              <a:rPr lang="en-GB" sz="2000" dirty="0"/>
              <a:t>
Bien-</a:t>
            </a:r>
            <a:r>
              <a:rPr lang="en-GB" sz="2000" dirty="0" err="1"/>
              <a:t>être</a:t>
            </a:r>
            <a:r>
              <a:rPr lang="en-GB" sz="2000" dirty="0"/>
              <a:t> financier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ü"/>
            </a:pPr>
            <a:r>
              <a:rPr lang="en-GB" sz="2000" dirty="0" err="1"/>
              <a:t>L’alignement</a:t>
            </a:r>
            <a:r>
              <a:rPr lang="en-GB" sz="2000" dirty="0"/>
              <a:t> des </a:t>
            </a:r>
            <a:r>
              <a:rPr lang="en-GB" sz="2000" dirty="0" err="1"/>
              <a:t>valeurs</a:t>
            </a:r>
            <a:r>
              <a:rPr lang="en-GB" sz="2000" dirty="0"/>
              <a:t> — “great resignation”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ü"/>
            </a:pPr>
            <a:r>
              <a:rPr lang="en-GB" sz="2000" dirty="0"/>
              <a:t>Transition </a:t>
            </a:r>
            <a:r>
              <a:rPr lang="en-GB" sz="2000" dirty="0" err="1"/>
              <a:t>vers</a:t>
            </a:r>
            <a:r>
              <a:rPr lang="en-GB" sz="2000" dirty="0"/>
              <a:t> la </a:t>
            </a:r>
            <a:r>
              <a:rPr lang="en-GB" sz="2000" dirty="0" err="1"/>
              <a:t>prévention</a:t>
            </a:r>
            <a:r>
              <a:rPr lang="en-GB" sz="2000" dirty="0"/>
              <a:t> — “lifestyle as medicine”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ü"/>
            </a:pPr>
            <a:r>
              <a:rPr lang="en-GB" sz="2000" dirty="0" err="1"/>
              <a:t>Ressources</a:t>
            </a:r>
            <a:r>
              <a:rPr lang="en-GB" sz="2000" dirty="0"/>
              <a:t> </a:t>
            </a:r>
            <a:r>
              <a:rPr lang="en-GB" sz="2000" dirty="0" err="1"/>
              <a:t>en</a:t>
            </a:r>
            <a:r>
              <a:rPr lang="en-GB" sz="2000" dirty="0"/>
              <a:t> </a:t>
            </a:r>
            <a:r>
              <a:rPr lang="en-GB" sz="2000" dirty="0" err="1"/>
              <a:t>ligne</a:t>
            </a:r>
            <a:r>
              <a:rPr lang="en-GB" sz="2000" dirty="0"/>
              <a:t> et </a:t>
            </a:r>
            <a:r>
              <a:rPr lang="en-GB" sz="2000" dirty="0" err="1"/>
              <a:t>santé</a:t>
            </a:r>
            <a:r>
              <a:rPr lang="en-GB" sz="2000" dirty="0"/>
              <a:t> numérique</a:t>
            </a:r>
            <a:endParaRPr lang="en-CH" sz="2000" dirty="0"/>
          </a:p>
        </p:txBody>
      </p:sp>
    </p:spTree>
    <p:extLst>
      <p:ext uri="{BB962C8B-B14F-4D97-AF65-F5344CB8AC3E}">
        <p14:creationId xmlns:p14="http://schemas.microsoft.com/office/powerpoint/2010/main" val="338796492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Wood human figure">
            <a:extLst>
              <a:ext uri="{FF2B5EF4-FFF2-40B4-BE49-F238E27FC236}">
                <a16:creationId xmlns:a16="http://schemas.microsoft.com/office/drawing/2014/main" id="{ED7E0EDE-71B4-6C27-96A5-EB3D274DF5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26" name="Rectangle 17">
            <a:extLst>
              <a:ext uri="{FF2B5EF4-FFF2-40B4-BE49-F238E27FC236}">
                <a16:creationId xmlns:a16="http://schemas.microsoft.com/office/drawing/2014/main" id="{B4916930-E76E-4100-9DCF-4981566A37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857375" y="1885950"/>
            <a:ext cx="8505825" cy="3152775"/>
          </a:xfrm>
          <a:prstGeom prst="rect">
            <a:avLst/>
          </a:prstGeom>
          <a:solidFill>
            <a:schemeClr val="bg1">
              <a:alpha val="75000"/>
            </a:schemeClr>
          </a:solidFill>
          <a:ln w="63500" cmpd="dbl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985147-CCE1-264E-8803-2F0D4C4FD1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6475" y="2247900"/>
            <a:ext cx="7581900" cy="251460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6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Que </a:t>
            </a:r>
            <a:r>
              <a:rPr lang="en-US" sz="6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faites-vous</a:t>
            </a:r>
            <a:r>
              <a:rPr lang="en-US" sz="6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805753249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EF65C310-F931-07F4-1296-75D7F3F22E4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-15876"/>
            <a:ext cx="12191980" cy="685799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B4147794-66B7-4CDE-BC75-BBDC48B2FC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59481" y="0"/>
            <a:ext cx="7718119" cy="6858000"/>
          </a:xfrm>
          <a:prstGeom prst="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Schoolbook" panose="020406040505050203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2132CC-E874-D446-B925-069257A74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0889" y="365758"/>
            <a:ext cx="6784259" cy="1114699"/>
          </a:xfrm>
        </p:spPr>
        <p:txBody>
          <a:bodyPr>
            <a:normAutofit/>
          </a:bodyPr>
          <a:lstStyle/>
          <a:p>
            <a:r>
              <a:rPr lang="en-CH" sz="3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usiness Case:</a:t>
            </a:r>
            <a:br>
              <a:rPr lang="en-CH" sz="3200" dirty="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en-CH" sz="3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OI </a:t>
            </a:r>
            <a:r>
              <a:rPr lang="en-CH" sz="3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 : 5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30D89DBB-EE5F-430C-A0CA-A93A6240A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15355" y="6356350"/>
            <a:ext cx="518652" cy="365125"/>
          </a:xfrm>
        </p:spPr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667EC89C-17A0-4E64-A6D2-B825673CEEDF}" type="slidenum">
              <a:rPr kumimoji="0" lang="da-DK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Pan Display TT"/>
                <a:ea typeface="+mn-ea"/>
                <a:cs typeface="+mn-cs"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a-DK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Pan Display T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1202E79-1236-4DF8-9921-F47A0B079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277600" y="0"/>
            <a:ext cx="914400" cy="6858000"/>
          </a:xfrm>
          <a:prstGeom prst="rect">
            <a:avLst/>
          </a:prstGeom>
          <a:solidFill>
            <a:schemeClr val="tx1">
              <a:lumMod val="85000"/>
              <a:lumOff val="15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37EE19A-F8B5-D94A-AE49-1A757844EC79}"/>
              </a:ext>
            </a:extLst>
          </p:cNvPr>
          <p:cNvSpPr/>
          <p:nvPr/>
        </p:nvSpPr>
        <p:spPr>
          <a:xfrm>
            <a:off x="210208" y="679747"/>
            <a:ext cx="3050414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« La COVID-19 a </a:t>
            </a:r>
            <a:r>
              <a:rPr lang="en-GB" sz="2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radicalement</a:t>
            </a:r>
            <a:r>
              <a:rPr lang="en-GB" sz="2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sz="2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accéléré</a:t>
            </a:r>
            <a:r>
              <a:rPr lang="en-GB" sz="2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sz="2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tous</a:t>
            </a:r>
            <a:r>
              <a:rPr lang="en-GB" sz="2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les efforts des </a:t>
            </a:r>
            <a:r>
              <a:rPr lang="en-GB" sz="2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entreprises</a:t>
            </a:r>
            <a:r>
              <a:rPr lang="en-GB" sz="2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pour </a:t>
            </a:r>
            <a:r>
              <a:rPr lang="en-GB" sz="2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romouvoir</a:t>
            </a:r>
            <a:r>
              <a:rPr lang="en-GB" sz="2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sz="2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l’équilibre</a:t>
            </a:r>
            <a:r>
              <a:rPr lang="en-GB" sz="2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entre vie </a:t>
            </a:r>
            <a:r>
              <a:rPr lang="en-GB" sz="2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rofessionnelle</a:t>
            </a:r>
            <a:r>
              <a:rPr lang="en-GB" sz="2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et vie </a:t>
            </a:r>
            <a:r>
              <a:rPr lang="en-GB" sz="2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rivée</a:t>
            </a:r>
            <a:r>
              <a:rPr lang="en-GB" sz="2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, sensibiliser </a:t>
            </a:r>
            <a:r>
              <a:rPr lang="en-GB" sz="2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à</a:t>
            </a:r>
            <a:r>
              <a:rPr lang="en-GB" sz="2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la </a:t>
            </a:r>
            <a:r>
              <a:rPr lang="en-GB" sz="2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anté</a:t>
            </a:r>
            <a:r>
              <a:rPr lang="en-GB" sz="2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sz="2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mentale</a:t>
            </a:r>
            <a:r>
              <a:rPr lang="en-GB" sz="2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et </a:t>
            </a:r>
            <a:r>
              <a:rPr lang="en-GB" sz="2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fournir</a:t>
            </a:r>
            <a:r>
              <a:rPr lang="en-GB" sz="2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un </a:t>
            </a:r>
            <a:r>
              <a:rPr lang="en-GB" sz="2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outien</a:t>
            </a:r>
            <a:r>
              <a:rPr lang="en-GB" sz="2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GB" sz="2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émotionnel</a:t>
            </a:r>
            <a:r>
              <a:rPr lang="en-GB" sz="2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. »
</a:t>
            </a:r>
            <a:endParaRPr lang="en-CH" sz="2800" i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30EDA49-FA75-A442-97E4-753716CFE5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50889" y="1480457"/>
            <a:ext cx="7083118" cy="5241018"/>
          </a:xfrm>
        </p:spPr>
        <p:txBody>
          <a:bodyPr>
            <a:noAutofit/>
          </a:bodyPr>
          <a:lstStyle/>
          <a:p>
            <a:pPr lvl="0">
              <a:buFont typeface="Wingdings" pitchFamily="2" charset="2"/>
              <a:buChar char="ü"/>
            </a:pPr>
            <a:r>
              <a:rPr lang="en-GB" sz="1600" dirty="0"/>
              <a:t>Le </a:t>
            </a:r>
            <a:r>
              <a:rPr lang="en-GB" sz="1600" dirty="0" err="1"/>
              <a:t>remplacement</a:t>
            </a:r>
            <a:r>
              <a:rPr lang="en-GB" sz="1600" dirty="0"/>
              <a:t> d’un </a:t>
            </a:r>
            <a:r>
              <a:rPr lang="en-GB" sz="1600" dirty="0" err="1"/>
              <a:t>employé</a:t>
            </a:r>
            <a:r>
              <a:rPr lang="en-GB" sz="1600" dirty="0"/>
              <a:t> « perdu » </a:t>
            </a:r>
            <a:r>
              <a:rPr lang="en-GB" sz="1600" b="1" dirty="0" err="1"/>
              <a:t>coûte</a:t>
            </a:r>
            <a:r>
              <a:rPr lang="en-GB" sz="1600" b="1" dirty="0"/>
              <a:t> le double du </a:t>
            </a:r>
            <a:r>
              <a:rPr lang="en-GB" sz="1600" b="1" dirty="0" err="1"/>
              <a:t>salaire</a:t>
            </a:r>
            <a:r>
              <a:rPr lang="en-GB" sz="1600" b="1" dirty="0"/>
              <a:t> </a:t>
            </a:r>
            <a:r>
              <a:rPr lang="en-GB" sz="1600" b="1" dirty="0" err="1"/>
              <a:t>annuel</a:t>
            </a:r>
            <a:r>
              <a:rPr lang="en-GB" sz="1600" dirty="0"/>
              <a:t>
Les </a:t>
            </a:r>
            <a:r>
              <a:rPr lang="en-GB" sz="1600" dirty="0" err="1"/>
              <a:t>employeurs</a:t>
            </a:r>
            <a:r>
              <a:rPr lang="en-GB" sz="1600" dirty="0"/>
              <a:t> </a:t>
            </a:r>
            <a:r>
              <a:rPr lang="en-GB" sz="1600" dirty="0" err="1"/>
              <a:t>ayant</a:t>
            </a:r>
            <a:r>
              <a:rPr lang="en-GB" sz="1600" dirty="0"/>
              <a:t> </a:t>
            </a:r>
            <a:r>
              <a:rPr lang="en-GB" sz="1600" dirty="0" err="1"/>
              <a:t>une</a:t>
            </a:r>
            <a:r>
              <a:rPr lang="en-GB" sz="1600" dirty="0"/>
              <a:t> culture de </a:t>
            </a:r>
            <a:r>
              <a:rPr lang="en-GB" sz="1600" dirty="0" err="1"/>
              <a:t>santé</a:t>
            </a:r>
            <a:r>
              <a:rPr lang="en-GB" sz="1600" dirty="0"/>
              <a:t> </a:t>
            </a:r>
            <a:r>
              <a:rPr lang="en-GB" sz="1600" dirty="0" err="1"/>
              <a:t>voient</a:t>
            </a:r>
            <a:r>
              <a:rPr lang="en-GB" sz="1600" dirty="0"/>
              <a:t> </a:t>
            </a:r>
            <a:r>
              <a:rPr lang="en-GB" sz="1600" dirty="0" err="1"/>
              <a:t>leur</a:t>
            </a:r>
            <a:r>
              <a:rPr lang="en-GB" sz="1600" dirty="0"/>
              <a:t> </a:t>
            </a:r>
            <a:r>
              <a:rPr lang="en-GB" sz="1600" b="1" dirty="0"/>
              <a:t>rotation du personnel </a:t>
            </a:r>
            <a:r>
              <a:rPr lang="en-GB" sz="1600" dirty="0" err="1"/>
              <a:t>en</a:t>
            </a:r>
            <a:r>
              <a:rPr lang="en-GB" sz="1600" dirty="0"/>
              <a:t> </a:t>
            </a:r>
            <a:r>
              <a:rPr lang="en-GB" sz="1600" dirty="0" err="1"/>
              <a:t>baisse</a:t>
            </a:r>
            <a:r>
              <a:rPr lang="en-GB" sz="1600" dirty="0"/>
              <a:t> de 11 %
Les </a:t>
            </a:r>
            <a:r>
              <a:rPr lang="en-GB" sz="1600" dirty="0" err="1"/>
              <a:t>employés</a:t>
            </a:r>
            <a:r>
              <a:rPr lang="en-GB" sz="1600" dirty="0"/>
              <a:t> </a:t>
            </a:r>
            <a:r>
              <a:rPr lang="en-GB" sz="1600" dirty="0" err="1"/>
              <a:t>ayant</a:t>
            </a:r>
            <a:r>
              <a:rPr lang="en-GB" sz="1600" dirty="0"/>
              <a:t> un bien-</a:t>
            </a:r>
            <a:r>
              <a:rPr lang="en-GB" sz="1600" dirty="0" err="1"/>
              <a:t>être</a:t>
            </a:r>
            <a:r>
              <a:rPr lang="en-GB" sz="1600" dirty="0"/>
              <a:t> </a:t>
            </a:r>
            <a:r>
              <a:rPr lang="en-GB" sz="1600" dirty="0" err="1"/>
              <a:t>élevé</a:t>
            </a:r>
            <a:r>
              <a:rPr lang="en-GB" sz="1600" dirty="0"/>
              <a:t> </a:t>
            </a:r>
            <a:r>
              <a:rPr lang="en-GB" sz="1600" dirty="0" err="1"/>
              <a:t>sont</a:t>
            </a:r>
            <a:r>
              <a:rPr lang="en-GB" sz="1600" dirty="0"/>
              <a:t> </a:t>
            </a:r>
            <a:r>
              <a:rPr lang="en-GB" sz="1600" dirty="0" err="1"/>
              <a:t>presque</a:t>
            </a:r>
            <a:r>
              <a:rPr lang="en-GB" sz="1600" dirty="0"/>
              <a:t> </a:t>
            </a:r>
            <a:r>
              <a:rPr lang="en-GB" sz="1600" b="1" dirty="0"/>
              <a:t>2x</a:t>
            </a:r>
            <a:r>
              <a:rPr lang="en-GB" sz="1600" dirty="0"/>
              <a:t> plus </a:t>
            </a:r>
            <a:r>
              <a:rPr lang="en-GB" sz="1600" dirty="0" err="1"/>
              <a:t>susceptibles</a:t>
            </a:r>
            <a:r>
              <a:rPr lang="en-GB" sz="1600" dirty="0"/>
              <a:t> d’être </a:t>
            </a:r>
            <a:r>
              <a:rPr lang="en-GB" sz="1600" dirty="0" err="1"/>
              <a:t>engagés</a:t>
            </a:r>
            <a:r>
              <a:rPr lang="en-GB" sz="1600" dirty="0"/>
              <a:t> et </a:t>
            </a:r>
            <a:r>
              <a:rPr lang="en-GB" sz="1600" dirty="0" err="1"/>
              <a:t>d’apprécier</a:t>
            </a:r>
            <a:r>
              <a:rPr lang="en-GB" sz="1600" dirty="0"/>
              <a:t> </a:t>
            </a:r>
            <a:r>
              <a:rPr lang="en-GB" sz="1600" dirty="0" err="1"/>
              <a:t>leur</a:t>
            </a:r>
            <a:r>
              <a:rPr lang="en-GB" sz="1600" dirty="0"/>
              <a:t> travail
Les </a:t>
            </a:r>
            <a:r>
              <a:rPr lang="en-GB" sz="1600" dirty="0" err="1"/>
              <a:t>employés</a:t>
            </a:r>
            <a:r>
              <a:rPr lang="en-GB" sz="1600" dirty="0"/>
              <a:t> </a:t>
            </a:r>
            <a:r>
              <a:rPr lang="en-GB" sz="1600" dirty="0" err="1"/>
              <a:t>ayant</a:t>
            </a:r>
            <a:r>
              <a:rPr lang="en-GB" sz="1600" dirty="0"/>
              <a:t> un bien-</a:t>
            </a:r>
            <a:r>
              <a:rPr lang="en-GB" sz="1600" dirty="0" err="1"/>
              <a:t>être</a:t>
            </a:r>
            <a:r>
              <a:rPr lang="en-GB" sz="1600" dirty="0"/>
              <a:t> </a:t>
            </a:r>
            <a:r>
              <a:rPr lang="en-GB" sz="1600" dirty="0" err="1"/>
              <a:t>élevé</a:t>
            </a:r>
            <a:r>
              <a:rPr lang="en-GB" sz="1600" dirty="0"/>
              <a:t> </a:t>
            </a:r>
            <a:r>
              <a:rPr lang="en-GB" sz="1600" dirty="0" err="1"/>
              <a:t>offrent</a:t>
            </a:r>
            <a:r>
              <a:rPr lang="en-GB" sz="1600" dirty="0"/>
              <a:t> un </a:t>
            </a:r>
            <a:r>
              <a:rPr lang="en-GB" sz="1600" dirty="0" err="1"/>
              <a:t>meilleur</a:t>
            </a:r>
            <a:r>
              <a:rPr lang="en-GB" sz="1600" dirty="0"/>
              <a:t> </a:t>
            </a:r>
            <a:r>
              <a:rPr lang="en-GB" sz="1600" b="1" dirty="0"/>
              <a:t>service </a:t>
            </a:r>
            <a:r>
              <a:rPr lang="en-GB" sz="1600" b="1" dirty="0" err="1"/>
              <a:t>à</a:t>
            </a:r>
            <a:r>
              <a:rPr lang="en-GB" sz="1600" b="1" dirty="0"/>
              <a:t> la </a:t>
            </a:r>
            <a:r>
              <a:rPr lang="en-GB" sz="1600" b="1" dirty="0" err="1"/>
              <a:t>clientèle</a:t>
            </a:r>
            <a:r>
              <a:rPr lang="en-GB" sz="1600" b="1" dirty="0"/>
              <a:t>, engagement, </a:t>
            </a:r>
            <a:r>
              <a:rPr lang="en-GB" sz="1600" b="1" dirty="0" err="1"/>
              <a:t>enthousiasme</a:t>
            </a:r>
            <a:r>
              <a:rPr lang="en-GB" sz="1600" b="1" dirty="0"/>
              <a:t>, et </a:t>
            </a:r>
            <a:r>
              <a:rPr lang="en-GB" sz="1600" b="1" dirty="0" err="1"/>
              <a:t>productivité</a:t>
            </a:r>
            <a:r>
              <a:rPr lang="en-GB" sz="1600" dirty="0"/>
              <a:t>
Les </a:t>
            </a:r>
            <a:r>
              <a:rPr lang="en-GB" sz="1600" dirty="0" err="1"/>
              <a:t>équipes</a:t>
            </a:r>
            <a:r>
              <a:rPr lang="en-GB" sz="1600" dirty="0"/>
              <a:t> qui se </a:t>
            </a:r>
            <a:r>
              <a:rPr lang="en-GB" sz="1600" dirty="0" err="1"/>
              <a:t>classent</a:t>
            </a:r>
            <a:r>
              <a:rPr lang="en-GB" sz="1600" dirty="0"/>
              <a:t> dans les 20 % les plus </a:t>
            </a:r>
            <a:r>
              <a:rPr lang="en-GB" sz="1600" dirty="0" err="1"/>
              <a:t>performantes</a:t>
            </a:r>
            <a:r>
              <a:rPr lang="en-GB" sz="1600" dirty="0"/>
              <a:t> </a:t>
            </a:r>
            <a:r>
              <a:rPr lang="en-GB" sz="1600" dirty="0" err="1"/>
              <a:t>en</a:t>
            </a:r>
            <a:r>
              <a:rPr lang="en-GB" sz="1600" dirty="0"/>
              <a:t> matière </a:t>
            </a:r>
            <a:r>
              <a:rPr lang="en-GB" sz="1600" dirty="0" err="1"/>
              <a:t>d’engagement</a:t>
            </a:r>
            <a:r>
              <a:rPr lang="en-GB" sz="1600" dirty="0"/>
              <a:t> </a:t>
            </a:r>
            <a:r>
              <a:rPr lang="en-GB" sz="1600" dirty="0" err="1"/>
              <a:t>réduisent</a:t>
            </a:r>
            <a:r>
              <a:rPr lang="en-GB" sz="1600" dirty="0"/>
              <a:t> </a:t>
            </a:r>
            <a:r>
              <a:rPr lang="en-GB" sz="1600" dirty="0" err="1"/>
              <a:t>leur</a:t>
            </a:r>
            <a:r>
              <a:rPr lang="en-GB" sz="1600" dirty="0"/>
              <a:t> </a:t>
            </a:r>
            <a:r>
              <a:rPr lang="en-GB" sz="1600" b="1" dirty="0" err="1"/>
              <a:t>taux</a:t>
            </a:r>
            <a:r>
              <a:rPr lang="en-GB" sz="1600" b="1" dirty="0"/>
              <a:t> </a:t>
            </a:r>
            <a:r>
              <a:rPr lang="en-GB" sz="1600" b="1" dirty="0" err="1"/>
              <a:t>d’absentéisme</a:t>
            </a:r>
            <a:r>
              <a:rPr lang="en-GB" sz="1600" b="1" dirty="0"/>
              <a:t> de 41 % et </a:t>
            </a:r>
            <a:r>
              <a:rPr lang="en-GB" sz="1600" b="1" dirty="0" err="1"/>
              <a:t>réduisent</a:t>
            </a:r>
            <a:r>
              <a:rPr lang="en-GB" sz="1600" b="1" dirty="0"/>
              <a:t> </a:t>
            </a:r>
            <a:r>
              <a:rPr lang="en-GB" sz="1600" b="1" dirty="0" err="1"/>
              <a:t>leur</a:t>
            </a:r>
            <a:r>
              <a:rPr lang="en-GB" sz="1600" b="1" dirty="0"/>
              <a:t> </a:t>
            </a:r>
            <a:r>
              <a:rPr lang="en-GB" sz="1600" b="1" dirty="0" err="1"/>
              <a:t>taux</a:t>
            </a:r>
            <a:r>
              <a:rPr lang="en-GB" sz="1600" b="1" dirty="0"/>
              <a:t> de rotation de 59 %</a:t>
            </a:r>
            <a:endParaRPr lang="en-US" sz="1600" b="1" dirty="0"/>
          </a:p>
          <a:p>
            <a:pPr lvl="0">
              <a:buFont typeface="Wingdings" pitchFamily="2" charset="2"/>
              <a:buChar char="ü"/>
            </a:pPr>
            <a:r>
              <a:rPr lang="en-GB" sz="1600" b="1" dirty="0"/>
              <a:t>State of the Industry Survey </a:t>
            </a:r>
            <a:r>
              <a:rPr lang="en-GB" sz="1600" dirty="0"/>
              <a:t>:</a:t>
            </a:r>
            <a:endParaRPr lang="en-US" sz="1600" dirty="0"/>
          </a:p>
          <a:p>
            <a:pPr lvl="1">
              <a:buFont typeface="Wingdings" pitchFamily="2" charset="2"/>
              <a:buChar char="ü"/>
            </a:pPr>
            <a:r>
              <a:rPr lang="en-GB" sz="1600" dirty="0"/>
              <a:t>56 % des </a:t>
            </a:r>
            <a:r>
              <a:rPr lang="en-GB" sz="1600" dirty="0" err="1"/>
              <a:t>entreprises</a:t>
            </a:r>
            <a:r>
              <a:rPr lang="en-GB" sz="1600" dirty="0"/>
              <a:t> qui </a:t>
            </a:r>
            <a:r>
              <a:rPr lang="en-GB" sz="1600" dirty="0" err="1"/>
              <a:t>ont</a:t>
            </a:r>
            <a:r>
              <a:rPr lang="en-GB" sz="1600" dirty="0"/>
              <a:t> </a:t>
            </a:r>
            <a:r>
              <a:rPr lang="en-GB" sz="1600" dirty="0" err="1"/>
              <a:t>investi</a:t>
            </a:r>
            <a:r>
              <a:rPr lang="en-GB" sz="1600" dirty="0"/>
              <a:t> dans </a:t>
            </a:r>
            <a:r>
              <a:rPr lang="en-GB" sz="1600" dirty="0" err="1"/>
              <a:t>l’engagement</a:t>
            </a:r>
            <a:r>
              <a:rPr lang="en-GB" sz="1600" dirty="0"/>
              <a:t> des </a:t>
            </a:r>
            <a:r>
              <a:rPr lang="en-GB" sz="1600" dirty="0" err="1"/>
              <a:t>employés</a:t>
            </a:r>
            <a:r>
              <a:rPr lang="en-GB" sz="1600" dirty="0"/>
              <a:t> </a:t>
            </a:r>
            <a:r>
              <a:rPr lang="en-GB" sz="1600" dirty="0" err="1"/>
              <a:t>ont</a:t>
            </a:r>
            <a:r>
              <a:rPr lang="en-GB" sz="1600" dirty="0"/>
              <a:t> </a:t>
            </a:r>
            <a:r>
              <a:rPr lang="en-GB" sz="1600" dirty="0" err="1"/>
              <a:t>constaté</a:t>
            </a:r>
            <a:r>
              <a:rPr lang="en-GB" sz="1600" dirty="0"/>
              <a:t> </a:t>
            </a:r>
            <a:r>
              <a:rPr lang="en-GB" sz="1600" dirty="0" err="1"/>
              <a:t>une</a:t>
            </a:r>
            <a:r>
              <a:rPr lang="en-GB" sz="1600" dirty="0"/>
              <a:t> plus </a:t>
            </a:r>
            <a:r>
              <a:rPr lang="en-GB" sz="1600" dirty="0" err="1"/>
              <a:t>grande</a:t>
            </a:r>
            <a:r>
              <a:rPr lang="en-GB" sz="1600" dirty="0"/>
              <a:t> satisfaction de </a:t>
            </a:r>
            <a:r>
              <a:rPr lang="en-GB" sz="1600" dirty="0" err="1"/>
              <a:t>leurs</a:t>
            </a:r>
            <a:r>
              <a:rPr lang="en-GB" sz="1600" dirty="0"/>
              <a:t> </a:t>
            </a:r>
            <a:r>
              <a:rPr lang="en-GB" sz="1600" dirty="0" err="1"/>
              <a:t>employés</a:t>
            </a:r>
            <a:r>
              <a:rPr lang="en-GB" sz="1600" dirty="0"/>
              <a:t>
40 % </a:t>
            </a:r>
            <a:r>
              <a:rPr lang="en-GB" sz="1600" dirty="0" err="1"/>
              <a:t>ont</a:t>
            </a:r>
            <a:r>
              <a:rPr lang="en-GB" sz="1600" dirty="0"/>
              <a:t> </a:t>
            </a:r>
            <a:r>
              <a:rPr lang="en-GB" sz="1600" dirty="0" err="1"/>
              <a:t>constaté</a:t>
            </a:r>
            <a:r>
              <a:rPr lang="en-GB" sz="1600" dirty="0"/>
              <a:t> </a:t>
            </a:r>
            <a:r>
              <a:rPr lang="en-GB" sz="1600" dirty="0" err="1"/>
              <a:t>une</a:t>
            </a:r>
            <a:r>
              <a:rPr lang="en-GB" sz="1600" dirty="0"/>
              <a:t> </a:t>
            </a:r>
            <a:r>
              <a:rPr lang="en-GB" sz="1600" dirty="0" err="1"/>
              <a:t>amélioration</a:t>
            </a:r>
            <a:r>
              <a:rPr lang="en-GB" sz="1600" dirty="0"/>
              <a:t> de la culture </a:t>
            </a:r>
            <a:r>
              <a:rPr lang="en-GB" sz="1600" dirty="0" err="1"/>
              <a:t>d’entreprise</a:t>
            </a:r>
            <a:r>
              <a:rPr lang="en-GB" sz="1600" dirty="0"/>
              <a:t>
14 % </a:t>
            </a:r>
            <a:r>
              <a:rPr lang="en-GB" sz="1600" dirty="0" err="1"/>
              <a:t>ont</a:t>
            </a:r>
            <a:r>
              <a:rPr lang="en-GB" sz="1600" dirty="0"/>
              <a:t> </a:t>
            </a:r>
            <a:r>
              <a:rPr lang="en-GB" sz="1600" dirty="0" err="1"/>
              <a:t>constaté</a:t>
            </a:r>
            <a:r>
              <a:rPr lang="en-GB" sz="1600" dirty="0"/>
              <a:t> </a:t>
            </a:r>
            <a:r>
              <a:rPr lang="en-GB" sz="1600" dirty="0" err="1"/>
              <a:t>une</a:t>
            </a:r>
            <a:r>
              <a:rPr lang="en-GB" sz="1600" dirty="0"/>
              <a:t> </a:t>
            </a:r>
            <a:r>
              <a:rPr lang="en-GB" sz="1600" dirty="0" err="1"/>
              <a:t>croissance</a:t>
            </a:r>
            <a:r>
              <a:rPr lang="en-GB" sz="1600" dirty="0"/>
              <a:t> des </a:t>
            </a:r>
            <a:r>
              <a:rPr lang="en-GB" sz="1600" dirty="0" err="1"/>
              <a:t>revenus</a:t>
            </a:r>
            <a:r>
              <a:rPr lang="en-GB" sz="1600" dirty="0"/>
              <a:t> grâce </a:t>
            </a:r>
            <a:r>
              <a:rPr lang="en-GB" sz="1600" dirty="0" err="1"/>
              <a:t>à</a:t>
            </a:r>
            <a:r>
              <a:rPr lang="en-GB" sz="1600" dirty="0"/>
              <a:t> </a:t>
            </a:r>
            <a:r>
              <a:rPr lang="en-GB" sz="1600" dirty="0" err="1"/>
              <a:t>leurs</a:t>
            </a:r>
            <a:r>
              <a:rPr lang="en-GB" sz="1600" dirty="0"/>
              <a:t> programmes </a:t>
            </a:r>
            <a:r>
              <a:rPr lang="en-GB" sz="1600" dirty="0" err="1"/>
              <a:t>d’engagement</a:t>
            </a:r>
            <a:r>
              <a:rPr lang="en-GB" sz="1600" dirty="0"/>
              <a:t> </a:t>
            </a:r>
            <a:endParaRPr lang="en-CH" sz="16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7154158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B5B0058-AF13-4859-B429-4EDDE2A26F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4F0801-7C85-A64E-9220-CF0036C0F9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32903" y="949325"/>
            <a:ext cx="8071706" cy="23876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6600" dirty="0" err="1">
                <a:solidFill>
                  <a:schemeClr val="bg1"/>
                </a:solidFill>
                <a:latin typeface="+mj-lt"/>
              </a:rPr>
              <a:t>Pourquoi</a:t>
            </a:r>
            <a:r>
              <a:rPr lang="en-US" sz="6600" dirty="0">
                <a:solidFill>
                  <a:schemeClr val="bg1"/>
                </a:solidFill>
                <a:latin typeface="+mj-lt"/>
              </a:rPr>
              <a:t> le bien-</a:t>
            </a:r>
            <a:r>
              <a:rPr lang="en-US" sz="6600" dirty="0" err="1">
                <a:solidFill>
                  <a:schemeClr val="bg1"/>
                </a:solidFill>
                <a:latin typeface="+mj-lt"/>
              </a:rPr>
              <a:t>être</a:t>
            </a:r>
            <a:r>
              <a:rPr lang="en-US" sz="6600" dirty="0">
                <a:solidFill>
                  <a:schemeClr val="bg1"/>
                </a:solidFill>
                <a:latin typeface="+mj-lt"/>
              </a:rPr>
              <a:t> mental?</a:t>
            </a:r>
            <a:endParaRPr lang="en-US" sz="6600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C4521DE-248E-440D-AAD6-FD9E7D34B3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85285" y="0"/>
            <a:ext cx="0" cy="685800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42C13FA-4C0F-42D0-9626-5BA6040D8C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0" y="6252485"/>
            <a:ext cx="12192000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2706035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erson in online therapy">
            <a:extLst>
              <a:ext uri="{FF2B5EF4-FFF2-40B4-BE49-F238E27FC236}">
                <a16:creationId xmlns:a16="http://schemas.microsoft.com/office/drawing/2014/main" id="{7F74CD20-CE8F-2440-895F-80AD9BEF86A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6C7B4A1-154A-4DF0-AC46-F88D75A2E0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21176"/>
            <a:ext cx="7197772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0E237A-B003-AF4C-B907-DC8D4EBE43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804" y="640263"/>
            <a:ext cx="6619811" cy="1344975"/>
          </a:xfrm>
        </p:spPr>
        <p:txBody>
          <a:bodyPr>
            <a:normAutofit/>
          </a:bodyPr>
          <a:lstStyle/>
          <a:p>
            <a:r>
              <a:rPr lang="en-GB" sz="4000" dirty="0"/>
              <a:t>Le Bien-</a:t>
            </a:r>
            <a:r>
              <a:rPr lang="en-GB" sz="4000" dirty="0" err="1"/>
              <a:t>être</a:t>
            </a:r>
            <a:r>
              <a:rPr lang="en-GB" sz="4000" dirty="0"/>
              <a:t> mental </a:t>
            </a:r>
            <a:r>
              <a:rPr lang="en-GB" sz="1800" dirty="0"/>
              <a:t>— OMS</a:t>
            </a:r>
            <a:endParaRPr lang="en-CH" sz="4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BA4754-71CE-5242-9FF3-4B7D5245CD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4109" y="1786759"/>
            <a:ext cx="6620505" cy="4108014"/>
          </a:xfrm>
        </p:spPr>
        <p:txBody>
          <a:bodyPr>
            <a:noAutofit/>
          </a:bodyPr>
          <a:lstStyle/>
          <a:p>
            <a:pPr algn="l">
              <a:buFont typeface="Wingdings" pitchFamily="2" charset="2"/>
              <a:buChar char="ü"/>
            </a:pPr>
            <a:r>
              <a:rPr lang="en-GB" sz="1800" dirty="0">
                <a:latin typeface="+mj-lt"/>
              </a:rPr>
              <a:t>Dans </a:t>
            </a:r>
            <a:r>
              <a:rPr lang="en-GB" sz="1800" dirty="0" err="1">
                <a:latin typeface="+mj-lt"/>
              </a:rPr>
              <a:t>l’ensemble</a:t>
            </a:r>
            <a:r>
              <a:rPr lang="en-GB" sz="1800" dirty="0">
                <a:latin typeface="+mj-lt"/>
              </a:rPr>
              <a:t>, la </a:t>
            </a:r>
            <a:r>
              <a:rPr lang="en-GB" sz="1800" dirty="0" err="1">
                <a:latin typeface="+mj-lt"/>
              </a:rPr>
              <a:t>santé</a:t>
            </a:r>
            <a:r>
              <a:rPr lang="en-GB" sz="1800" dirty="0">
                <a:latin typeface="+mj-lt"/>
              </a:rPr>
              <a:t> </a:t>
            </a:r>
            <a:r>
              <a:rPr lang="en-GB" sz="1800" dirty="0" err="1">
                <a:latin typeface="+mj-lt"/>
              </a:rPr>
              <a:t>mentale</a:t>
            </a:r>
            <a:r>
              <a:rPr lang="en-GB" sz="1800" dirty="0">
                <a:latin typeface="+mj-lt"/>
              </a:rPr>
              <a:t> </a:t>
            </a:r>
            <a:r>
              <a:rPr lang="en-GB" sz="1800" dirty="0" err="1">
                <a:latin typeface="+mj-lt"/>
              </a:rPr>
              <a:t>s’est</a:t>
            </a:r>
            <a:r>
              <a:rPr lang="en-GB" sz="1800" dirty="0">
                <a:latin typeface="+mj-lt"/>
              </a:rPr>
              <a:t> </a:t>
            </a:r>
            <a:r>
              <a:rPr lang="en-GB" sz="1800" dirty="0" err="1">
                <a:latin typeface="+mj-lt"/>
              </a:rPr>
              <a:t>détériorée</a:t>
            </a:r>
            <a:r>
              <a:rPr lang="en-GB" sz="1800" dirty="0">
                <a:latin typeface="+mj-lt"/>
              </a:rPr>
              <a:t> suite </a:t>
            </a:r>
            <a:r>
              <a:rPr lang="en-GB" sz="1800" dirty="0" err="1">
                <a:latin typeface="+mj-lt"/>
              </a:rPr>
              <a:t>à</a:t>
            </a:r>
            <a:r>
              <a:rPr lang="en-GB" sz="1800" dirty="0">
                <a:latin typeface="+mj-lt"/>
              </a:rPr>
              <a:t> la </a:t>
            </a:r>
            <a:r>
              <a:rPr lang="en-GB" sz="1800" dirty="0" err="1">
                <a:latin typeface="+mj-lt"/>
              </a:rPr>
              <a:t>pandémie</a:t>
            </a:r>
            <a:r>
              <a:rPr lang="en-GB" sz="1800" dirty="0">
                <a:latin typeface="+mj-lt"/>
              </a:rPr>
              <a:t> </a:t>
            </a:r>
          </a:p>
          <a:p>
            <a:pPr>
              <a:buFont typeface="Wingdings" pitchFamily="2" charset="2"/>
              <a:buChar char="ü"/>
            </a:pPr>
            <a:r>
              <a:rPr lang="en-GB" sz="1800" dirty="0">
                <a:latin typeface="+mj-lt"/>
              </a:rPr>
              <a:t>15 % </a:t>
            </a:r>
            <a:r>
              <a:rPr lang="en-GB" sz="1800" dirty="0" err="1">
                <a:latin typeface="+mj-lt"/>
              </a:rPr>
              <a:t>à</a:t>
            </a:r>
            <a:r>
              <a:rPr lang="en-GB" sz="1800" dirty="0">
                <a:latin typeface="+mj-lt"/>
              </a:rPr>
              <a:t> 20 % des </a:t>
            </a:r>
            <a:r>
              <a:rPr lang="en-GB" sz="1800" dirty="0" err="1">
                <a:latin typeface="+mj-lt"/>
              </a:rPr>
              <a:t>adultes</a:t>
            </a:r>
            <a:endParaRPr lang="en-GB" sz="1800" dirty="0">
              <a:latin typeface="+mj-lt"/>
            </a:endParaRPr>
          </a:p>
          <a:p>
            <a:pPr>
              <a:buFont typeface="Wingdings" pitchFamily="2" charset="2"/>
              <a:buChar char="ü"/>
            </a:pPr>
            <a:r>
              <a:rPr lang="en-GB" sz="1800" dirty="0">
                <a:solidFill>
                  <a:srgbClr val="202124"/>
                </a:solidFill>
                <a:latin typeface="+mn-lt"/>
              </a:rPr>
              <a:t>Les </a:t>
            </a:r>
            <a:r>
              <a:rPr lang="en-GB" sz="1800" b="1" dirty="0">
                <a:solidFill>
                  <a:srgbClr val="202124"/>
                </a:solidFill>
                <a:latin typeface="+mn-lt"/>
              </a:rPr>
              <a:t>femmes</a:t>
            </a:r>
            <a:r>
              <a:rPr lang="en-GB" sz="1800" dirty="0">
                <a:solidFill>
                  <a:srgbClr val="202124"/>
                </a:solidFill>
                <a:latin typeface="+mn-lt"/>
              </a:rPr>
              <a:t> </a:t>
            </a:r>
            <a:r>
              <a:rPr lang="en-GB" sz="1800" dirty="0" err="1">
                <a:solidFill>
                  <a:srgbClr val="202124"/>
                </a:solidFill>
                <a:latin typeface="+mn-lt"/>
              </a:rPr>
              <a:t>sont</a:t>
            </a:r>
            <a:r>
              <a:rPr lang="en-GB" sz="1800" dirty="0">
                <a:solidFill>
                  <a:srgbClr val="202124"/>
                </a:solidFill>
                <a:latin typeface="+mn-lt"/>
              </a:rPr>
              <a:t> </a:t>
            </a:r>
            <a:r>
              <a:rPr lang="en-GB" sz="1800" b="1" dirty="0">
                <a:solidFill>
                  <a:srgbClr val="202124"/>
                </a:solidFill>
                <a:latin typeface="+mn-lt"/>
              </a:rPr>
              <a:t>3x</a:t>
            </a:r>
            <a:r>
              <a:rPr lang="en-GB" sz="1800" dirty="0">
                <a:solidFill>
                  <a:srgbClr val="202124"/>
                </a:solidFill>
                <a:latin typeface="+mn-lt"/>
              </a:rPr>
              <a:t> plus </a:t>
            </a:r>
            <a:r>
              <a:rPr lang="en-GB" sz="1800" dirty="0" err="1">
                <a:solidFill>
                  <a:srgbClr val="202124"/>
                </a:solidFill>
                <a:latin typeface="+mn-lt"/>
              </a:rPr>
              <a:t>susceptibles</a:t>
            </a:r>
            <a:r>
              <a:rPr lang="en-GB" sz="1800" dirty="0">
                <a:solidFill>
                  <a:srgbClr val="202124"/>
                </a:solidFill>
                <a:latin typeface="+mn-lt"/>
              </a:rPr>
              <a:t> que les hommes </a:t>
            </a:r>
            <a:r>
              <a:rPr lang="en-GB" sz="1800" dirty="0" err="1">
                <a:solidFill>
                  <a:srgbClr val="202124"/>
                </a:solidFill>
                <a:latin typeface="+mn-lt"/>
              </a:rPr>
              <a:t>d’éprouver</a:t>
            </a:r>
            <a:r>
              <a:rPr lang="en-GB" sz="1800" dirty="0">
                <a:solidFill>
                  <a:srgbClr val="202124"/>
                </a:solidFill>
                <a:latin typeface="+mn-lt"/>
              </a:rPr>
              <a:t> des </a:t>
            </a:r>
            <a:r>
              <a:rPr lang="en-GB" sz="1800" dirty="0" err="1">
                <a:solidFill>
                  <a:srgbClr val="202124"/>
                </a:solidFill>
                <a:latin typeface="+mn-lt"/>
              </a:rPr>
              <a:t>problèmes</a:t>
            </a:r>
            <a:r>
              <a:rPr lang="en-GB" sz="1800" dirty="0">
                <a:solidFill>
                  <a:srgbClr val="202124"/>
                </a:solidFill>
                <a:latin typeface="+mn-lt"/>
              </a:rPr>
              <a:t> de </a:t>
            </a:r>
            <a:r>
              <a:rPr lang="en-GB" sz="1800" dirty="0" err="1">
                <a:solidFill>
                  <a:srgbClr val="202124"/>
                </a:solidFill>
                <a:latin typeface="+mn-lt"/>
              </a:rPr>
              <a:t>santé</a:t>
            </a:r>
            <a:r>
              <a:rPr lang="en-GB" sz="1800" dirty="0">
                <a:solidFill>
                  <a:srgbClr val="202124"/>
                </a:solidFill>
                <a:latin typeface="+mn-lt"/>
              </a:rPr>
              <a:t> </a:t>
            </a:r>
            <a:r>
              <a:rPr lang="en-GB" sz="1800" dirty="0" err="1">
                <a:solidFill>
                  <a:srgbClr val="202124"/>
                </a:solidFill>
                <a:latin typeface="+mn-lt"/>
              </a:rPr>
              <a:t>mentale</a:t>
            </a:r>
            <a:r>
              <a:rPr lang="en-GB" sz="1800" dirty="0">
                <a:latin typeface="+mj-lt"/>
              </a:rPr>
              <a:t>
12 milliards de </a:t>
            </a:r>
            <a:r>
              <a:rPr lang="en-GB" sz="1800" dirty="0" err="1">
                <a:latin typeface="+mj-lt"/>
              </a:rPr>
              <a:t>jours</a:t>
            </a:r>
            <a:r>
              <a:rPr lang="en-GB" sz="1800" dirty="0">
                <a:latin typeface="+mj-lt"/>
              </a:rPr>
              <a:t> de travail/an/monde perdus </a:t>
            </a:r>
            <a:r>
              <a:rPr lang="en-GB" sz="1800" dirty="0" err="1">
                <a:latin typeface="+mj-lt"/>
              </a:rPr>
              <a:t>à</a:t>
            </a:r>
            <a:r>
              <a:rPr lang="en-GB" sz="1800" dirty="0">
                <a:latin typeface="+mj-lt"/>
              </a:rPr>
              <a:t> cause de la </a:t>
            </a:r>
            <a:r>
              <a:rPr lang="en-GB" sz="1800" dirty="0" err="1">
                <a:latin typeface="+mj-lt"/>
              </a:rPr>
              <a:t>dépression</a:t>
            </a:r>
            <a:r>
              <a:rPr lang="en-GB" sz="1800" dirty="0">
                <a:latin typeface="+mj-lt"/>
              </a:rPr>
              <a:t> et de </a:t>
            </a:r>
            <a:r>
              <a:rPr lang="en-GB" sz="1800" dirty="0" err="1">
                <a:latin typeface="+mj-lt"/>
              </a:rPr>
              <a:t>l’anxiété</a:t>
            </a:r>
            <a:endParaRPr lang="en-GB" sz="1800" dirty="0">
              <a:latin typeface="+mj-lt"/>
            </a:endParaRPr>
          </a:p>
          <a:p>
            <a:pPr>
              <a:buFont typeface="Wingdings" pitchFamily="2" charset="2"/>
              <a:buChar char="ü"/>
            </a:pPr>
            <a:r>
              <a:rPr lang="en-GB" sz="1800" dirty="0"/>
              <a:t>Un </a:t>
            </a:r>
            <a:r>
              <a:rPr lang="en-GB" sz="1800" dirty="0" err="1"/>
              <a:t>environnement</a:t>
            </a:r>
            <a:r>
              <a:rPr lang="en-GB" sz="1800" dirty="0"/>
              <a:t> de travail </a:t>
            </a:r>
            <a:r>
              <a:rPr lang="en-GB" sz="1800" dirty="0" err="1"/>
              <a:t>négatif</a:t>
            </a:r>
            <a:r>
              <a:rPr lang="en-GB" sz="1800" dirty="0"/>
              <a:t> (</a:t>
            </a:r>
            <a:r>
              <a:rPr lang="en-GB" sz="1800" dirty="0" err="1"/>
              <a:t>harcèlement</a:t>
            </a:r>
            <a:r>
              <a:rPr lang="en-GB" sz="1800" dirty="0"/>
              <a:t>, intimidation, discrimination) </a:t>
            </a:r>
            <a:r>
              <a:rPr lang="en-GB" sz="1800" dirty="0" err="1"/>
              <a:t>peut</a:t>
            </a:r>
            <a:r>
              <a:rPr lang="en-GB" sz="1800" dirty="0"/>
              <a:t> </a:t>
            </a:r>
            <a:r>
              <a:rPr lang="en-GB" sz="1800" dirty="0" err="1"/>
              <a:t>entraîner</a:t>
            </a:r>
            <a:r>
              <a:rPr lang="en-GB" sz="1800" dirty="0"/>
              <a:t> des </a:t>
            </a:r>
            <a:r>
              <a:rPr lang="en-GB" sz="1800" dirty="0" err="1"/>
              <a:t>problèmes</a:t>
            </a:r>
            <a:r>
              <a:rPr lang="en-GB" sz="1800" dirty="0"/>
              <a:t> de </a:t>
            </a:r>
            <a:r>
              <a:rPr lang="en-GB" sz="1800" dirty="0" err="1"/>
              <a:t>santé</a:t>
            </a:r>
            <a:r>
              <a:rPr lang="en-GB" sz="1800" dirty="0"/>
              <a:t> physique et </a:t>
            </a:r>
            <a:r>
              <a:rPr lang="en-GB" sz="1800" dirty="0" err="1"/>
              <a:t>mentale</a:t>
            </a:r>
            <a:r>
              <a:rPr lang="en-GB" sz="1800" dirty="0"/>
              <a:t>.
</a:t>
            </a:r>
            <a:r>
              <a:rPr lang="en-GB" sz="1800" b="1" dirty="0"/>
              <a:t>ROI 1:4</a:t>
            </a:r>
            <a:r>
              <a:rPr lang="en-GB" sz="1800" dirty="0">
                <a:latin typeface="+mj-lt"/>
              </a:rPr>
              <a:t>
“Surgeon General’s Framework for Workplace Mental Health and Well-Being” (2022) </a:t>
            </a:r>
            <a:r>
              <a:rPr lang="en-GB" sz="1800" dirty="0" err="1">
                <a:latin typeface="+mj-lt"/>
              </a:rPr>
              <a:t>offre</a:t>
            </a:r>
            <a:r>
              <a:rPr lang="en-GB" sz="1800" dirty="0">
                <a:latin typeface="+mj-lt"/>
              </a:rPr>
              <a:t> </a:t>
            </a:r>
            <a:r>
              <a:rPr lang="en-GB" sz="1800" dirty="0" err="1">
                <a:latin typeface="+mj-lt"/>
              </a:rPr>
              <a:t>une</a:t>
            </a:r>
            <a:r>
              <a:rPr lang="en-GB" sz="1800" dirty="0">
                <a:latin typeface="+mj-lt"/>
              </a:rPr>
              <a:t> base sur </a:t>
            </a:r>
            <a:r>
              <a:rPr lang="en-GB" sz="1800" dirty="0" err="1">
                <a:latin typeface="+mj-lt"/>
              </a:rPr>
              <a:t>laquelle</a:t>
            </a:r>
            <a:r>
              <a:rPr lang="en-GB" sz="1800" dirty="0">
                <a:latin typeface="+mj-lt"/>
              </a:rPr>
              <a:t> les </a:t>
            </a:r>
            <a:r>
              <a:rPr lang="en-GB" sz="1800" dirty="0" err="1">
                <a:latin typeface="+mj-lt"/>
              </a:rPr>
              <a:t>employeurs</a:t>
            </a:r>
            <a:r>
              <a:rPr lang="en-GB" sz="1800" dirty="0">
                <a:latin typeface="+mj-lt"/>
              </a:rPr>
              <a:t> </a:t>
            </a:r>
            <a:r>
              <a:rPr lang="en-GB" sz="1800" dirty="0" err="1">
                <a:latin typeface="+mj-lt"/>
              </a:rPr>
              <a:t>peuvent</a:t>
            </a:r>
            <a:r>
              <a:rPr lang="en-GB" sz="1800" dirty="0">
                <a:latin typeface="+mj-lt"/>
              </a:rPr>
              <a:t> </a:t>
            </a:r>
            <a:r>
              <a:rPr lang="en-GB" sz="1800" dirty="0" err="1">
                <a:latin typeface="+mj-lt"/>
              </a:rPr>
              <a:t>s’appuyer</a:t>
            </a:r>
            <a:endParaRPr lang="en-GB" sz="1800" dirty="0">
              <a:latin typeface="+mj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BCDA24-1A75-494F-88C0-CE90170A632E}"/>
              </a:ext>
            </a:extLst>
          </p:cNvPr>
          <p:cNvSpPr/>
          <p:nvPr/>
        </p:nvSpPr>
        <p:spPr>
          <a:xfrm>
            <a:off x="9536281" y="321176"/>
            <a:ext cx="2655719" cy="71096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b="1" i="1" dirty="0"/>
              <a:t>« Les interventions </a:t>
            </a:r>
            <a:r>
              <a:rPr lang="en-GB" sz="2400" b="1" i="1" dirty="0" err="1"/>
              <a:t>en</a:t>
            </a:r>
            <a:r>
              <a:rPr lang="en-GB" sz="2400" b="1" i="1" dirty="0"/>
              <a:t> </a:t>
            </a:r>
            <a:r>
              <a:rPr lang="en-GB" sz="2400" b="1" i="1" dirty="0" err="1"/>
              <a:t>santé</a:t>
            </a:r>
            <a:r>
              <a:rPr lang="en-GB" sz="2400" b="1" i="1" dirty="0"/>
              <a:t> </a:t>
            </a:r>
            <a:r>
              <a:rPr lang="en-GB" sz="2400" b="1" i="1" dirty="0" err="1"/>
              <a:t>mentale</a:t>
            </a:r>
            <a:r>
              <a:rPr lang="en-GB" sz="2400" b="1" i="1" dirty="0"/>
              <a:t> </a:t>
            </a:r>
            <a:r>
              <a:rPr lang="en-GB" sz="2400" b="1" i="1" dirty="0" err="1"/>
              <a:t>devraient</a:t>
            </a:r>
            <a:r>
              <a:rPr lang="en-GB" sz="2400" b="1" i="1" dirty="0"/>
              <a:t> </a:t>
            </a:r>
            <a:r>
              <a:rPr lang="en-GB" sz="2400" b="1" i="1" dirty="0" err="1"/>
              <a:t>être</a:t>
            </a:r>
            <a:r>
              <a:rPr lang="en-GB" sz="2400" b="1" i="1" dirty="0"/>
              <a:t> </a:t>
            </a:r>
            <a:r>
              <a:rPr lang="en-GB" sz="2400" b="1" i="1" dirty="0" err="1"/>
              <a:t>offertes</a:t>
            </a:r>
            <a:r>
              <a:rPr lang="en-GB" sz="2400" b="1" i="1" dirty="0"/>
              <a:t> dans le cadre </a:t>
            </a:r>
            <a:r>
              <a:rPr lang="en-GB" sz="2400" b="1" i="1" dirty="0" err="1"/>
              <a:t>d’une</a:t>
            </a:r>
            <a:r>
              <a:rPr lang="en-GB" sz="2400" b="1" i="1" dirty="0"/>
              <a:t> </a:t>
            </a:r>
            <a:r>
              <a:rPr lang="en-GB" sz="2400" b="1" i="1" dirty="0" err="1"/>
              <a:t>stratégie</a:t>
            </a:r>
            <a:r>
              <a:rPr lang="en-GB" sz="2400" b="1" i="1" dirty="0"/>
              <a:t> </a:t>
            </a:r>
            <a:r>
              <a:rPr lang="en-GB" sz="2400" b="1" i="1" dirty="0" err="1"/>
              <a:t>intégrée</a:t>
            </a:r>
            <a:r>
              <a:rPr lang="en-GB" sz="2400" b="1" i="1" dirty="0"/>
              <a:t> de </a:t>
            </a:r>
            <a:r>
              <a:rPr lang="en-GB" sz="2400" b="1" i="1" dirty="0" err="1"/>
              <a:t>santé</a:t>
            </a:r>
            <a:r>
              <a:rPr lang="en-GB" sz="2400" b="1" i="1" dirty="0"/>
              <a:t> et de bien-</a:t>
            </a:r>
            <a:r>
              <a:rPr lang="en-GB" sz="2400" b="1" i="1" dirty="0" err="1"/>
              <a:t>être</a:t>
            </a:r>
            <a:r>
              <a:rPr lang="en-GB" sz="2400" b="1" i="1" dirty="0"/>
              <a:t> qui </a:t>
            </a:r>
            <a:r>
              <a:rPr lang="en-GB" sz="2400" b="1" i="1" dirty="0" err="1"/>
              <a:t>couvre</a:t>
            </a:r>
            <a:r>
              <a:rPr lang="en-GB" sz="2400" b="1" i="1" dirty="0"/>
              <a:t> la </a:t>
            </a:r>
            <a:r>
              <a:rPr lang="en-GB" sz="2400" b="1" i="1" dirty="0" err="1"/>
              <a:t>prévention</a:t>
            </a:r>
            <a:r>
              <a:rPr lang="en-GB" sz="2400" b="1" i="1" dirty="0"/>
              <a:t>, le </a:t>
            </a:r>
            <a:r>
              <a:rPr lang="en-GB" sz="2400" b="1" i="1" dirty="0" err="1"/>
              <a:t>dépistage</a:t>
            </a:r>
            <a:r>
              <a:rPr lang="en-GB" sz="2400" b="1" i="1" dirty="0"/>
              <a:t> </a:t>
            </a:r>
            <a:r>
              <a:rPr lang="en-GB" sz="2400" b="1" i="1" dirty="0" err="1"/>
              <a:t>précoce</a:t>
            </a:r>
            <a:r>
              <a:rPr lang="en-GB" sz="2400" b="1" i="1" dirty="0"/>
              <a:t>, le </a:t>
            </a:r>
            <a:r>
              <a:rPr lang="en-GB" sz="2400" b="1" i="1" dirty="0" err="1"/>
              <a:t>soutien</a:t>
            </a:r>
            <a:r>
              <a:rPr lang="en-GB" sz="2400" b="1" i="1" dirty="0"/>
              <a:t> et la </a:t>
            </a:r>
            <a:r>
              <a:rPr lang="en-GB" sz="2400" b="1" i="1" dirty="0" err="1"/>
              <a:t>réadaptation</a:t>
            </a:r>
            <a:r>
              <a:rPr lang="en-GB" sz="2400" b="1" i="1" dirty="0"/>
              <a:t>. »</a:t>
            </a:r>
          </a:p>
          <a:p>
            <a:r>
              <a:rPr lang="en-GB" sz="2400" b="1" i="1" dirty="0"/>
              <a:t> — OMS</a:t>
            </a:r>
          </a:p>
          <a:p>
            <a:r>
              <a:rPr lang="en-GB" sz="2400" b="1" i="1" dirty="0"/>
              <a:t>
</a:t>
            </a:r>
            <a:endParaRPr lang="en-CH" sz="2400" b="1" i="1" dirty="0"/>
          </a:p>
        </p:txBody>
      </p:sp>
    </p:spTree>
    <p:extLst>
      <p:ext uri="{BB962C8B-B14F-4D97-AF65-F5344CB8AC3E}">
        <p14:creationId xmlns:p14="http://schemas.microsoft.com/office/powerpoint/2010/main" val="257433518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UE9N.HFTfUxs9oNlcD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31083779448253"/>
</p:tagLst>
</file>

<file path=ppt/theme/theme1.xml><?xml version="1.0" encoding="utf-8"?>
<a:theme xmlns:a="http://schemas.openxmlformats.org/drawingml/2006/main" name="Office Theme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andora 2019">
  <a:themeElements>
    <a:clrScheme name="Pandora 2019">
      <a:dk1>
        <a:srgbClr val="27251F"/>
      </a:dk1>
      <a:lt1>
        <a:sysClr val="window" lastClr="FFFFFF"/>
      </a:lt1>
      <a:dk2>
        <a:srgbClr val="6C6864"/>
      </a:dk2>
      <a:lt2>
        <a:srgbClr val="B7B8B9"/>
      </a:lt2>
      <a:accent1>
        <a:srgbClr val="FFCAD4"/>
      </a:accent1>
      <a:accent2>
        <a:srgbClr val="F2A1B2"/>
      </a:accent2>
      <a:accent3>
        <a:srgbClr val="FEAD77"/>
      </a:accent3>
      <a:accent4>
        <a:srgbClr val="58A7AF"/>
      </a:accent4>
      <a:accent5>
        <a:srgbClr val="9EB356"/>
      </a:accent5>
      <a:accent6>
        <a:srgbClr val="F5E1A4"/>
      </a:accent6>
      <a:hlink>
        <a:srgbClr val="FFCAD4"/>
      </a:hlink>
      <a:folHlink>
        <a:srgbClr val="F2A1B2"/>
      </a:folHlink>
    </a:clrScheme>
    <a:fontScheme name="Pandora 2019">
      <a:majorFont>
        <a:latin typeface="Pan Display TT"/>
        <a:ea typeface=""/>
        <a:cs typeface=""/>
      </a:majorFont>
      <a:minorFont>
        <a:latin typeface="Pan Display TT Light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noFill/>
          <a:bevel/>
        </a:ln>
      </a:spPr>
      <a:bodyPr rot="0" spcFirstLastPara="0" vertOverflow="overflow" horzOverflow="overflow" vert="horz" wrap="square" lIns="144000" tIns="108000" rIns="144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Bef>
            <a:spcPts val="600"/>
          </a:spcBef>
          <a:defRPr sz="1600" noProof="0" dirty="0" err="1" smtClean="0"/>
        </a:defPPr>
      </a:lstStyle>
    </a:txDef>
  </a:objectDefaults>
  <a:extraClrSchemeLst/>
  <a:custClrLst>
    <a:custClr name="HEAVY GRAY">
      <a:srgbClr val="27251F"/>
    </a:custClr>
    <a:custClr name="DARK GRAY">
      <a:srgbClr val="6C6864"/>
    </a:custClr>
    <a:custClr name="GRAY">
      <a:srgbClr val="B7B8B9"/>
    </a:custClr>
    <a:custClr name="LIGHT GRAY">
      <a:srgbClr val="E2E2E3"/>
    </a:custClr>
    <a:custClr name="WHITE">
      <a:srgbClr val="FFFFFF"/>
    </a:custClr>
    <a:custClr name="WHITE">
      <a:srgbClr val="FFFFFF"/>
    </a:custClr>
    <a:custClr name="WHITE">
      <a:srgbClr val="FFFFFF"/>
    </a:custClr>
    <a:custClr name="LIGHT PINK">
      <a:srgbClr val="FFCAD4"/>
    </a:custClr>
    <a:custClr name="PINK">
      <a:srgbClr val="F2A1B2"/>
    </a:custClr>
    <a:custClr name="DARK PINK">
      <a:srgbClr val="720016"/>
    </a:custClr>
    <a:custClr name="LIGHT CORAL">
      <a:srgbClr val="FEA06B"/>
    </a:custClr>
    <a:custClr name="BLUE TURQUOISE">
      <a:srgbClr val="4CA7B1"/>
    </a:custClr>
    <a:custClr name="ARMY">
      <a:srgbClr val="94B362"/>
    </a:custClr>
    <a:custClr name="LIGHT YELLOW">
      <a:srgbClr val="F1DB9D"/>
    </a:custClr>
  </a:custClrLst>
  <a:extLst>
    <a:ext uri="{05A4C25C-085E-4340-85A3-A5531E510DB2}">
      <thm15:themeFamily xmlns:thm15="http://schemas.microsoft.com/office/thememl/2012/main" name="Blank.potx" id="{171BAA60-15EE-4F51-827F-9B9B2B6E8EF0}" vid="{1006D318-1064-424E-AFBA-67624CF4E50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95</TotalTime>
  <Words>2578</Words>
  <Application>Microsoft Office PowerPoint</Application>
  <PresentationFormat>Grand écran</PresentationFormat>
  <Paragraphs>273</Paragraphs>
  <Slides>28</Slides>
  <Notes>18</Notes>
  <HiddenSlides>0</HiddenSlides>
  <MMClips>1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8</vt:i4>
      </vt:variant>
    </vt:vector>
  </HeadingPairs>
  <TitlesOfParts>
    <vt:vector size="40" baseType="lpstr">
      <vt:lpstr>Arial</vt:lpstr>
      <vt:lpstr>Calibri</vt:lpstr>
      <vt:lpstr>Calibri Light</vt:lpstr>
      <vt:lpstr>Century Gothic</vt:lpstr>
      <vt:lpstr>Century Schoolbook</vt:lpstr>
      <vt:lpstr>Pan Display TT</vt:lpstr>
      <vt:lpstr>Pan Display TT Light</vt:lpstr>
      <vt:lpstr>ReithSans</vt:lpstr>
      <vt:lpstr>Wingdings</vt:lpstr>
      <vt:lpstr>Office Theme</vt:lpstr>
      <vt:lpstr>Pandora 2019</vt:lpstr>
      <vt:lpstr>think-cell Slide</vt:lpstr>
      <vt:lpstr>Bien-Être au travail 2023 : Tendances — Business Case — Solutions
</vt:lpstr>
      <vt:lpstr>Ellen Kocher MHWC-WW ICF PCC NBC-HWC PSS – WWA &amp; WWC NWI - CWWS</vt:lpstr>
      <vt:lpstr>Aujourd’hui</vt:lpstr>
      <vt:lpstr>Le Bien-être au travail 2023
</vt:lpstr>
      <vt:lpstr>Tendances
</vt:lpstr>
      <vt:lpstr>Que faites-vous?</vt:lpstr>
      <vt:lpstr>Business Case: ROI 1 : 5</vt:lpstr>
      <vt:lpstr>Pourquoi le bien-être mental?</vt:lpstr>
      <vt:lpstr>Le Bien-être mental — OMS</vt:lpstr>
      <vt:lpstr>“La pandémie nous a montré à quel point il est important de soutenir non seulement la santé physique, mais aussi la santé mentale.” (Forbes, March 2022)</vt:lpstr>
      <vt:lpstr>2019: L’OMS a ajouté l’épuisement professionnel (burnout) à la liste des maladies mondialement reconnues</vt:lpstr>
      <vt:lpstr>Que faites-vous?</vt:lpstr>
      <vt:lpstr>Pourquoi le bien-être physique?</vt:lpstr>
      <vt:lpstr>Le stress est la cause fondamentale de plus de 60% de toutes les maladies humaines</vt:lpstr>
      <vt:lpstr>Maladies non transmissibles 74% de décès dans le monde 80 % évitable</vt:lpstr>
      <vt:lpstr>Avantages liés au stress résultant d’une meilleure nutrition</vt:lpstr>
      <vt:lpstr>Avantages liés au stress résultant de l’amélioration de l’activité physique</vt:lpstr>
      <vt:lpstr>Avantages liés au stress résultant de l’amélioration de l’activité physique</vt:lpstr>
      <vt:lpstr>Que faites-vous?</vt:lpstr>
      <vt:lpstr>Par où commencer?</vt:lpstr>
      <vt:lpstr>Les principaux obstacles à la participation aux programmes de bien-être</vt:lpstr>
      <vt:lpstr>Par où commencer?</vt:lpstr>
      <vt:lpstr>Facteurs critiques de succès</vt:lpstr>
      <vt:lpstr>Global Wellness Institute   Workplace Wellbeing Initiative  Download Return to Work Standards</vt:lpstr>
      <vt:lpstr>Qu’allez-vous faire?
</vt:lpstr>
      <vt:lpstr>Présentation PowerPoint</vt:lpstr>
      <vt:lpstr>Références et Ressources</vt:lpstr>
      <vt:lpstr>Description Cour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ing your Coaching Business to the Next Level in the Corporate/Workplace Setting</dc:title>
  <dc:creator>Ellen Kocher</dc:creator>
  <cp:lastModifiedBy>Yvan Lozac'hmeur</cp:lastModifiedBy>
  <cp:revision>233</cp:revision>
  <dcterms:created xsi:type="dcterms:W3CDTF">2022-03-11T04:42:57Z</dcterms:created>
  <dcterms:modified xsi:type="dcterms:W3CDTF">2023-04-17T09:06:14Z</dcterms:modified>
</cp:coreProperties>
</file>